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5"/>
  </p:notesMasterIdLst>
  <p:sldIdLst>
    <p:sldId id="266" r:id="rId2"/>
    <p:sldId id="261" r:id="rId3"/>
    <p:sldId id="260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67" d="100"/>
          <a:sy n="67" d="100"/>
        </p:scale>
        <p:origin x="60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020994-C2D5-475E-B405-CD1E627BB961}" type="datetimeFigureOut">
              <a:rPr lang="en-US" smtClean="0"/>
              <a:t>5/27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B68493-B1C2-4A86-89D5-A4BC2479800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5297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nl-NL" dirty="0"/>
            </a:br>
            <a:br>
              <a:rPr lang="nl-NL" dirty="0"/>
            </a:b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48395F-0EAE-445B-B8AE-E5E3CD6652F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7515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e 21"/>
          <p:cNvGrpSpPr/>
          <p:nvPr/>
        </p:nvGrpSpPr>
        <p:grpSpPr>
          <a:xfrm>
            <a:off x="4808425" y="925513"/>
            <a:ext cx="2428875" cy="2082799"/>
            <a:chOff x="377826" y="925513"/>
            <a:chExt cx="2428875" cy="2082799"/>
          </a:xfrm>
        </p:grpSpPr>
        <p:sp>
          <p:nvSpPr>
            <p:cNvPr id="8" name="Freeform 5"/>
            <p:cNvSpPr/>
            <p:nvPr/>
          </p:nvSpPr>
          <p:spPr bwMode="auto">
            <a:xfrm>
              <a:off x="377826" y="925513"/>
              <a:ext cx="2428875" cy="2082799"/>
            </a:xfrm>
            <a:custGeom>
              <a:avLst/>
              <a:gdLst/>
              <a:ahLst/>
              <a:cxnLst/>
              <a:rect l="0" t="0" r="r" b="b"/>
              <a:pathLst>
                <a:path w="5935" h="5085">
                  <a:moveTo>
                    <a:pt x="4187" y="4681"/>
                  </a:moveTo>
                  <a:cubicBezTo>
                    <a:pt x="5454" y="4277"/>
                    <a:pt x="5935" y="2992"/>
                    <a:pt x="5262" y="1811"/>
                  </a:cubicBezTo>
                  <a:cubicBezTo>
                    <a:pt x="4589" y="630"/>
                    <a:pt x="3016" y="0"/>
                    <a:pt x="1749" y="403"/>
                  </a:cubicBezTo>
                  <a:cubicBezTo>
                    <a:pt x="482" y="807"/>
                    <a:pt x="0" y="2092"/>
                    <a:pt x="674" y="3274"/>
                  </a:cubicBezTo>
                  <a:cubicBezTo>
                    <a:pt x="1347" y="4455"/>
                    <a:pt x="2920" y="5085"/>
                    <a:pt x="4187" y="468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" name="Freeform 6"/>
            <p:cNvSpPr/>
            <p:nvPr/>
          </p:nvSpPr>
          <p:spPr bwMode="auto">
            <a:xfrm>
              <a:off x="377826" y="925513"/>
              <a:ext cx="2428875" cy="2082799"/>
            </a:xfrm>
            <a:custGeom>
              <a:avLst/>
              <a:gdLst/>
              <a:ahLst/>
              <a:cxnLst/>
              <a:rect l="0" t="0" r="r" b="b"/>
              <a:pathLst>
                <a:path w="5935" h="5085">
                  <a:moveTo>
                    <a:pt x="4187" y="4681"/>
                  </a:moveTo>
                  <a:cubicBezTo>
                    <a:pt x="5454" y="4277"/>
                    <a:pt x="5935" y="2992"/>
                    <a:pt x="5262" y="1811"/>
                  </a:cubicBezTo>
                  <a:cubicBezTo>
                    <a:pt x="4589" y="630"/>
                    <a:pt x="3016" y="0"/>
                    <a:pt x="1749" y="403"/>
                  </a:cubicBezTo>
                  <a:cubicBezTo>
                    <a:pt x="482" y="807"/>
                    <a:pt x="0" y="2092"/>
                    <a:pt x="674" y="3274"/>
                  </a:cubicBezTo>
                  <a:cubicBezTo>
                    <a:pt x="1347" y="4455"/>
                    <a:pt x="2920" y="5085"/>
                    <a:pt x="4187" y="468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" name="Freeform 7"/>
            <p:cNvSpPr>
              <a:spLocks noEditPoints="1"/>
            </p:cNvSpPr>
            <p:nvPr/>
          </p:nvSpPr>
          <p:spPr bwMode="auto">
            <a:xfrm>
              <a:off x="454026" y="1079500"/>
              <a:ext cx="2278063" cy="1852612"/>
            </a:xfrm>
            <a:custGeom>
              <a:avLst/>
              <a:gdLst/>
              <a:ahLst/>
              <a:cxnLst/>
              <a:rect l="0" t="0" r="r" b="b"/>
              <a:pathLst>
                <a:path w="5564" h="4525">
                  <a:moveTo>
                    <a:pt x="4933" y="1479"/>
                  </a:moveTo>
                  <a:cubicBezTo>
                    <a:pt x="4877" y="1381"/>
                    <a:pt x="4814" y="1287"/>
                    <a:pt x="4746" y="1198"/>
                  </a:cubicBezTo>
                  <a:cubicBezTo>
                    <a:pt x="4628" y="1587"/>
                    <a:pt x="4628" y="1587"/>
                    <a:pt x="4628" y="1587"/>
                  </a:cubicBezTo>
                  <a:cubicBezTo>
                    <a:pt x="4623" y="1603"/>
                    <a:pt x="4623" y="1603"/>
                    <a:pt x="4623" y="1603"/>
                  </a:cubicBezTo>
                  <a:cubicBezTo>
                    <a:pt x="4620" y="1613"/>
                    <a:pt x="4620" y="1613"/>
                    <a:pt x="4620" y="1613"/>
                  </a:cubicBezTo>
                  <a:cubicBezTo>
                    <a:pt x="4223" y="1613"/>
                    <a:pt x="4223" y="1613"/>
                    <a:pt x="4223" y="1613"/>
                  </a:cubicBezTo>
                  <a:cubicBezTo>
                    <a:pt x="4223" y="1613"/>
                    <a:pt x="4223" y="1613"/>
                    <a:pt x="4223" y="1613"/>
                  </a:cubicBezTo>
                  <a:cubicBezTo>
                    <a:pt x="4134" y="1613"/>
                    <a:pt x="4061" y="1677"/>
                    <a:pt x="4061" y="1755"/>
                  </a:cubicBezTo>
                  <a:cubicBezTo>
                    <a:pt x="4061" y="1786"/>
                    <a:pt x="4072" y="1815"/>
                    <a:pt x="4093" y="1840"/>
                  </a:cubicBezTo>
                  <a:cubicBezTo>
                    <a:pt x="4093" y="1840"/>
                    <a:pt x="4119" y="1871"/>
                    <a:pt x="4119" y="1871"/>
                  </a:cubicBezTo>
                  <a:cubicBezTo>
                    <a:pt x="4119" y="1871"/>
                    <a:pt x="4395" y="2208"/>
                    <a:pt x="4395" y="2208"/>
                  </a:cubicBezTo>
                  <a:cubicBezTo>
                    <a:pt x="4404" y="2219"/>
                    <a:pt x="4404" y="2219"/>
                    <a:pt x="4404" y="2219"/>
                  </a:cubicBezTo>
                  <a:cubicBezTo>
                    <a:pt x="4404" y="2219"/>
                    <a:pt x="4404" y="2219"/>
                    <a:pt x="4404" y="2219"/>
                  </a:cubicBezTo>
                  <a:cubicBezTo>
                    <a:pt x="4478" y="2316"/>
                    <a:pt x="4496" y="2441"/>
                    <a:pt x="4457" y="2573"/>
                  </a:cubicBezTo>
                  <a:cubicBezTo>
                    <a:pt x="4416" y="2706"/>
                    <a:pt x="4319" y="2832"/>
                    <a:pt x="4185" y="2926"/>
                  </a:cubicBezTo>
                  <a:cubicBezTo>
                    <a:pt x="4050" y="3020"/>
                    <a:pt x="3892" y="3071"/>
                    <a:pt x="3741" y="3071"/>
                  </a:cubicBezTo>
                  <a:cubicBezTo>
                    <a:pt x="3131" y="3071"/>
                    <a:pt x="3131" y="3071"/>
                    <a:pt x="3131" y="3071"/>
                  </a:cubicBezTo>
                  <a:cubicBezTo>
                    <a:pt x="3136" y="3055"/>
                    <a:pt x="3136" y="3055"/>
                    <a:pt x="3136" y="3055"/>
                  </a:cubicBezTo>
                  <a:cubicBezTo>
                    <a:pt x="3144" y="3028"/>
                    <a:pt x="3144" y="3028"/>
                    <a:pt x="3144" y="3028"/>
                  </a:cubicBezTo>
                  <a:cubicBezTo>
                    <a:pt x="3266" y="2628"/>
                    <a:pt x="3266" y="2628"/>
                    <a:pt x="3266" y="2628"/>
                  </a:cubicBezTo>
                  <a:cubicBezTo>
                    <a:pt x="3271" y="2611"/>
                    <a:pt x="3271" y="2611"/>
                    <a:pt x="3271" y="2611"/>
                  </a:cubicBezTo>
                  <a:cubicBezTo>
                    <a:pt x="3273" y="2603"/>
                    <a:pt x="3273" y="2603"/>
                    <a:pt x="3273" y="2603"/>
                  </a:cubicBezTo>
                  <a:cubicBezTo>
                    <a:pt x="3665" y="2603"/>
                    <a:pt x="3665" y="2603"/>
                    <a:pt x="3665" y="2603"/>
                  </a:cubicBezTo>
                  <a:cubicBezTo>
                    <a:pt x="3665" y="2603"/>
                    <a:pt x="3672" y="2603"/>
                    <a:pt x="3671" y="2603"/>
                  </a:cubicBezTo>
                  <a:cubicBezTo>
                    <a:pt x="3761" y="2603"/>
                    <a:pt x="3834" y="2539"/>
                    <a:pt x="3834" y="2461"/>
                  </a:cubicBezTo>
                  <a:cubicBezTo>
                    <a:pt x="3834" y="2430"/>
                    <a:pt x="3823" y="2401"/>
                    <a:pt x="3802" y="2376"/>
                  </a:cubicBezTo>
                  <a:cubicBezTo>
                    <a:pt x="3802" y="2376"/>
                    <a:pt x="3791" y="2363"/>
                    <a:pt x="3791" y="2363"/>
                  </a:cubicBezTo>
                  <a:cubicBezTo>
                    <a:pt x="3499" y="2007"/>
                    <a:pt x="3499" y="2007"/>
                    <a:pt x="3499" y="2007"/>
                  </a:cubicBezTo>
                  <a:cubicBezTo>
                    <a:pt x="3490" y="1996"/>
                    <a:pt x="3490" y="1996"/>
                    <a:pt x="3490" y="1996"/>
                  </a:cubicBezTo>
                  <a:cubicBezTo>
                    <a:pt x="3490" y="1995"/>
                    <a:pt x="3490" y="1995"/>
                    <a:pt x="3490" y="1995"/>
                  </a:cubicBezTo>
                  <a:cubicBezTo>
                    <a:pt x="3417" y="1899"/>
                    <a:pt x="3398" y="1774"/>
                    <a:pt x="3438" y="1642"/>
                  </a:cubicBezTo>
                  <a:cubicBezTo>
                    <a:pt x="3478" y="1509"/>
                    <a:pt x="3575" y="1383"/>
                    <a:pt x="3710" y="1289"/>
                  </a:cubicBezTo>
                  <a:cubicBezTo>
                    <a:pt x="3844" y="1195"/>
                    <a:pt x="4002" y="1143"/>
                    <a:pt x="4153" y="1143"/>
                  </a:cubicBezTo>
                  <a:cubicBezTo>
                    <a:pt x="4704" y="1143"/>
                    <a:pt x="4704" y="1143"/>
                    <a:pt x="4704" y="1143"/>
                  </a:cubicBezTo>
                  <a:cubicBezTo>
                    <a:pt x="4124" y="423"/>
                    <a:pt x="3164" y="0"/>
                    <a:pt x="2254" y="47"/>
                  </a:cubicBezTo>
                  <a:cubicBezTo>
                    <a:pt x="2112" y="516"/>
                    <a:pt x="2112" y="516"/>
                    <a:pt x="2112" y="516"/>
                  </a:cubicBezTo>
                  <a:cubicBezTo>
                    <a:pt x="2107" y="532"/>
                    <a:pt x="2107" y="532"/>
                    <a:pt x="2107" y="532"/>
                  </a:cubicBezTo>
                  <a:cubicBezTo>
                    <a:pt x="2104" y="541"/>
                    <a:pt x="2104" y="541"/>
                    <a:pt x="2104" y="541"/>
                  </a:cubicBezTo>
                  <a:cubicBezTo>
                    <a:pt x="1493" y="541"/>
                    <a:pt x="1493" y="541"/>
                    <a:pt x="1493" y="541"/>
                  </a:cubicBezTo>
                  <a:cubicBezTo>
                    <a:pt x="1498" y="525"/>
                    <a:pt x="1498" y="525"/>
                    <a:pt x="1498" y="525"/>
                  </a:cubicBezTo>
                  <a:cubicBezTo>
                    <a:pt x="1506" y="498"/>
                    <a:pt x="1506" y="498"/>
                    <a:pt x="1506" y="498"/>
                  </a:cubicBezTo>
                  <a:cubicBezTo>
                    <a:pt x="1606" y="168"/>
                    <a:pt x="1606" y="168"/>
                    <a:pt x="1606" y="168"/>
                  </a:cubicBezTo>
                  <a:cubicBezTo>
                    <a:pt x="440" y="558"/>
                    <a:pt x="0" y="1752"/>
                    <a:pt x="627" y="2852"/>
                  </a:cubicBezTo>
                  <a:cubicBezTo>
                    <a:pt x="660" y="2909"/>
                    <a:pt x="695" y="2966"/>
                    <a:pt x="733" y="3021"/>
                  </a:cubicBezTo>
                  <a:cubicBezTo>
                    <a:pt x="1294" y="1168"/>
                    <a:pt x="1294" y="1168"/>
                    <a:pt x="1294" y="1168"/>
                  </a:cubicBezTo>
                  <a:cubicBezTo>
                    <a:pt x="1299" y="1151"/>
                    <a:pt x="1299" y="1151"/>
                    <a:pt x="1299" y="1151"/>
                  </a:cubicBezTo>
                  <a:cubicBezTo>
                    <a:pt x="1302" y="1142"/>
                    <a:pt x="1302" y="1142"/>
                    <a:pt x="1302" y="1142"/>
                  </a:cubicBezTo>
                  <a:cubicBezTo>
                    <a:pt x="1913" y="1142"/>
                    <a:pt x="1913" y="1142"/>
                    <a:pt x="1913" y="1142"/>
                  </a:cubicBezTo>
                  <a:cubicBezTo>
                    <a:pt x="1908" y="1159"/>
                    <a:pt x="1908" y="1159"/>
                    <a:pt x="1908" y="1159"/>
                  </a:cubicBezTo>
                  <a:cubicBezTo>
                    <a:pt x="1900" y="1186"/>
                    <a:pt x="1900" y="1186"/>
                    <a:pt x="1900" y="1186"/>
                  </a:cubicBezTo>
                  <a:cubicBezTo>
                    <a:pt x="1335" y="3049"/>
                    <a:pt x="1335" y="3049"/>
                    <a:pt x="1335" y="3049"/>
                  </a:cubicBezTo>
                  <a:cubicBezTo>
                    <a:pt x="1330" y="3065"/>
                    <a:pt x="1330" y="3065"/>
                    <a:pt x="1330" y="3065"/>
                  </a:cubicBezTo>
                  <a:cubicBezTo>
                    <a:pt x="1328" y="3074"/>
                    <a:pt x="1328" y="3074"/>
                    <a:pt x="1328" y="3074"/>
                  </a:cubicBezTo>
                  <a:cubicBezTo>
                    <a:pt x="770" y="3074"/>
                    <a:pt x="770" y="3074"/>
                    <a:pt x="770" y="3074"/>
                  </a:cubicBezTo>
                  <a:cubicBezTo>
                    <a:pt x="1462" y="4037"/>
                    <a:pt x="2817" y="4525"/>
                    <a:pt x="3924" y="4172"/>
                  </a:cubicBezTo>
                  <a:cubicBezTo>
                    <a:pt x="5113" y="3793"/>
                    <a:pt x="5564" y="2587"/>
                    <a:pt x="4933" y="1479"/>
                  </a:cubicBezTo>
                  <a:moveTo>
                    <a:pt x="3057" y="2573"/>
                  </a:moveTo>
                  <a:cubicBezTo>
                    <a:pt x="3016" y="2706"/>
                    <a:pt x="2920" y="2832"/>
                    <a:pt x="2785" y="2926"/>
                  </a:cubicBezTo>
                  <a:cubicBezTo>
                    <a:pt x="2650" y="3020"/>
                    <a:pt x="2493" y="3071"/>
                    <a:pt x="2341" y="3071"/>
                  </a:cubicBezTo>
                  <a:cubicBezTo>
                    <a:pt x="1731" y="3071"/>
                    <a:pt x="1731" y="3071"/>
                    <a:pt x="1731" y="3071"/>
                  </a:cubicBezTo>
                  <a:cubicBezTo>
                    <a:pt x="1736" y="3055"/>
                    <a:pt x="1736" y="3055"/>
                    <a:pt x="1736" y="3055"/>
                  </a:cubicBezTo>
                  <a:cubicBezTo>
                    <a:pt x="1745" y="3028"/>
                    <a:pt x="1745" y="3028"/>
                    <a:pt x="1745" y="3028"/>
                  </a:cubicBezTo>
                  <a:cubicBezTo>
                    <a:pt x="1866" y="2628"/>
                    <a:pt x="1866" y="2628"/>
                    <a:pt x="1866" y="2628"/>
                  </a:cubicBezTo>
                  <a:cubicBezTo>
                    <a:pt x="1871" y="2611"/>
                    <a:pt x="1871" y="2611"/>
                    <a:pt x="1871" y="2611"/>
                  </a:cubicBezTo>
                  <a:cubicBezTo>
                    <a:pt x="1874" y="2603"/>
                    <a:pt x="1874" y="2603"/>
                    <a:pt x="1874" y="2603"/>
                  </a:cubicBezTo>
                  <a:cubicBezTo>
                    <a:pt x="2265" y="2603"/>
                    <a:pt x="2265" y="2603"/>
                    <a:pt x="2265" y="2603"/>
                  </a:cubicBezTo>
                  <a:cubicBezTo>
                    <a:pt x="2265" y="2603"/>
                    <a:pt x="2272" y="2603"/>
                    <a:pt x="2272" y="2603"/>
                  </a:cubicBezTo>
                  <a:cubicBezTo>
                    <a:pt x="2361" y="2603"/>
                    <a:pt x="2434" y="2539"/>
                    <a:pt x="2434" y="2461"/>
                  </a:cubicBezTo>
                  <a:cubicBezTo>
                    <a:pt x="2434" y="2430"/>
                    <a:pt x="2423" y="2401"/>
                    <a:pt x="2402" y="2376"/>
                  </a:cubicBezTo>
                  <a:cubicBezTo>
                    <a:pt x="2403" y="2376"/>
                    <a:pt x="2391" y="2363"/>
                    <a:pt x="2391" y="2363"/>
                  </a:cubicBezTo>
                  <a:cubicBezTo>
                    <a:pt x="2099" y="2007"/>
                    <a:pt x="2099" y="2007"/>
                    <a:pt x="2099" y="2007"/>
                  </a:cubicBezTo>
                  <a:cubicBezTo>
                    <a:pt x="2099" y="2007"/>
                    <a:pt x="2090" y="1995"/>
                    <a:pt x="2090" y="1995"/>
                  </a:cubicBezTo>
                  <a:cubicBezTo>
                    <a:pt x="2090" y="1995"/>
                    <a:pt x="2090" y="1995"/>
                    <a:pt x="2090" y="1995"/>
                  </a:cubicBezTo>
                  <a:cubicBezTo>
                    <a:pt x="2017" y="1898"/>
                    <a:pt x="1998" y="1774"/>
                    <a:pt x="2038" y="1642"/>
                  </a:cubicBezTo>
                  <a:cubicBezTo>
                    <a:pt x="2079" y="1509"/>
                    <a:pt x="2175" y="1383"/>
                    <a:pt x="2310" y="1289"/>
                  </a:cubicBezTo>
                  <a:cubicBezTo>
                    <a:pt x="2445" y="1195"/>
                    <a:pt x="2602" y="1143"/>
                    <a:pt x="2753" y="1143"/>
                  </a:cubicBezTo>
                  <a:cubicBezTo>
                    <a:pt x="3362" y="1143"/>
                    <a:pt x="3362" y="1143"/>
                    <a:pt x="3362" y="1143"/>
                  </a:cubicBezTo>
                  <a:cubicBezTo>
                    <a:pt x="3358" y="1160"/>
                    <a:pt x="3358" y="1160"/>
                    <a:pt x="3358" y="1160"/>
                  </a:cubicBezTo>
                  <a:cubicBezTo>
                    <a:pt x="3349" y="1187"/>
                    <a:pt x="3349" y="1187"/>
                    <a:pt x="3349" y="1187"/>
                  </a:cubicBezTo>
                  <a:cubicBezTo>
                    <a:pt x="3228" y="1587"/>
                    <a:pt x="3228" y="1587"/>
                    <a:pt x="3228" y="1587"/>
                  </a:cubicBezTo>
                  <a:cubicBezTo>
                    <a:pt x="3223" y="1603"/>
                    <a:pt x="3223" y="1603"/>
                    <a:pt x="3223" y="1603"/>
                  </a:cubicBezTo>
                  <a:cubicBezTo>
                    <a:pt x="3220" y="1613"/>
                    <a:pt x="3220" y="1613"/>
                    <a:pt x="3220" y="1613"/>
                  </a:cubicBezTo>
                  <a:cubicBezTo>
                    <a:pt x="2824" y="1613"/>
                    <a:pt x="2824" y="1613"/>
                    <a:pt x="2824" y="1613"/>
                  </a:cubicBezTo>
                  <a:cubicBezTo>
                    <a:pt x="2824" y="1613"/>
                    <a:pt x="2824" y="1613"/>
                    <a:pt x="2824" y="1613"/>
                  </a:cubicBezTo>
                  <a:cubicBezTo>
                    <a:pt x="2734" y="1613"/>
                    <a:pt x="2661" y="1677"/>
                    <a:pt x="2661" y="1755"/>
                  </a:cubicBezTo>
                  <a:cubicBezTo>
                    <a:pt x="2661" y="1786"/>
                    <a:pt x="2672" y="1815"/>
                    <a:pt x="2693" y="1840"/>
                  </a:cubicBezTo>
                  <a:cubicBezTo>
                    <a:pt x="2693" y="1840"/>
                    <a:pt x="2719" y="1871"/>
                    <a:pt x="2720" y="1871"/>
                  </a:cubicBezTo>
                  <a:cubicBezTo>
                    <a:pt x="2996" y="2208"/>
                    <a:pt x="2996" y="2208"/>
                    <a:pt x="2996" y="2208"/>
                  </a:cubicBezTo>
                  <a:cubicBezTo>
                    <a:pt x="2996" y="2208"/>
                    <a:pt x="3004" y="2219"/>
                    <a:pt x="3004" y="2219"/>
                  </a:cubicBezTo>
                  <a:cubicBezTo>
                    <a:pt x="3004" y="2219"/>
                    <a:pt x="3004" y="2219"/>
                    <a:pt x="3004" y="2219"/>
                  </a:cubicBezTo>
                  <a:cubicBezTo>
                    <a:pt x="3078" y="2316"/>
                    <a:pt x="3097" y="2441"/>
                    <a:pt x="3057" y="2573"/>
                  </a:cubicBezTo>
                </a:path>
              </a:pathLst>
            </a:custGeom>
            <a:solidFill>
              <a:srgbClr val="003459"/>
            </a:solidFill>
            <a:ln>
              <a:noFill/>
            </a:ln>
          </p:spPr>
        </p:sp>
      </p:grp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499200" y="3974400"/>
            <a:ext cx="11227200" cy="5328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Undertitel 2"/>
          <p:cNvSpPr>
            <a:spLocks noGrp="1"/>
          </p:cNvSpPr>
          <p:nvPr>
            <p:ph type="subTitle" idx="1"/>
          </p:nvPr>
        </p:nvSpPr>
        <p:spPr>
          <a:xfrm>
            <a:off x="1502400" y="4694400"/>
            <a:ext cx="9244800" cy="698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3" name="Ellipse 4"/>
          <p:cNvSpPr/>
          <p:nvPr/>
        </p:nvSpPr>
        <p:spPr>
          <a:xfrm rot="1140488">
            <a:off x="10939097" y="5945096"/>
            <a:ext cx="979200" cy="720080"/>
          </a:xfrm>
          <a:prstGeom prst="ellipse">
            <a:avLst/>
          </a:prstGeom>
          <a:solidFill>
            <a:srgbClr val="0034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2192039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Blue">
    <p:bg>
      <p:bgPr>
        <a:gradFill>
          <a:gsLst>
            <a:gs pos="0">
              <a:schemeClr val="accent3"/>
            </a:gs>
            <a:gs pos="50000">
              <a:schemeClr val="tx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e 21"/>
          <p:cNvGrpSpPr/>
          <p:nvPr/>
        </p:nvGrpSpPr>
        <p:grpSpPr>
          <a:xfrm>
            <a:off x="4808425" y="925513"/>
            <a:ext cx="2428875" cy="2082799"/>
            <a:chOff x="377826" y="925513"/>
            <a:chExt cx="2428875" cy="2082799"/>
          </a:xfrm>
        </p:grpSpPr>
        <p:sp>
          <p:nvSpPr>
            <p:cNvPr id="8" name="Freeform 5"/>
            <p:cNvSpPr/>
            <p:nvPr/>
          </p:nvSpPr>
          <p:spPr bwMode="auto">
            <a:xfrm>
              <a:off x="377826" y="925513"/>
              <a:ext cx="2428875" cy="2082799"/>
            </a:xfrm>
            <a:custGeom>
              <a:avLst/>
              <a:gdLst/>
              <a:ahLst/>
              <a:cxnLst/>
              <a:rect l="0" t="0" r="r" b="b"/>
              <a:pathLst>
                <a:path w="5935" h="5085">
                  <a:moveTo>
                    <a:pt x="4187" y="4681"/>
                  </a:moveTo>
                  <a:cubicBezTo>
                    <a:pt x="5454" y="4277"/>
                    <a:pt x="5935" y="2992"/>
                    <a:pt x="5262" y="1811"/>
                  </a:cubicBezTo>
                  <a:cubicBezTo>
                    <a:pt x="4589" y="630"/>
                    <a:pt x="3016" y="0"/>
                    <a:pt x="1749" y="403"/>
                  </a:cubicBezTo>
                  <a:cubicBezTo>
                    <a:pt x="482" y="807"/>
                    <a:pt x="0" y="2092"/>
                    <a:pt x="674" y="3274"/>
                  </a:cubicBezTo>
                  <a:cubicBezTo>
                    <a:pt x="1347" y="4455"/>
                    <a:pt x="2920" y="5085"/>
                    <a:pt x="4187" y="468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9" name="Freeform 6"/>
            <p:cNvSpPr/>
            <p:nvPr/>
          </p:nvSpPr>
          <p:spPr bwMode="auto">
            <a:xfrm>
              <a:off x="377826" y="925513"/>
              <a:ext cx="2428875" cy="2082799"/>
            </a:xfrm>
            <a:custGeom>
              <a:avLst/>
              <a:gdLst/>
              <a:ahLst/>
              <a:cxnLst/>
              <a:rect l="0" t="0" r="r" b="b"/>
              <a:pathLst>
                <a:path w="5935" h="5085">
                  <a:moveTo>
                    <a:pt x="4187" y="4681"/>
                  </a:moveTo>
                  <a:cubicBezTo>
                    <a:pt x="5454" y="4277"/>
                    <a:pt x="5935" y="2992"/>
                    <a:pt x="5262" y="1811"/>
                  </a:cubicBezTo>
                  <a:cubicBezTo>
                    <a:pt x="4589" y="630"/>
                    <a:pt x="3016" y="0"/>
                    <a:pt x="1749" y="403"/>
                  </a:cubicBezTo>
                  <a:cubicBezTo>
                    <a:pt x="482" y="807"/>
                    <a:pt x="0" y="2092"/>
                    <a:pt x="674" y="3274"/>
                  </a:cubicBezTo>
                  <a:cubicBezTo>
                    <a:pt x="1347" y="4455"/>
                    <a:pt x="2920" y="5085"/>
                    <a:pt x="4187" y="468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0" name="Freeform 7"/>
            <p:cNvSpPr>
              <a:spLocks noEditPoints="1"/>
            </p:cNvSpPr>
            <p:nvPr/>
          </p:nvSpPr>
          <p:spPr bwMode="auto">
            <a:xfrm>
              <a:off x="454026" y="1079500"/>
              <a:ext cx="2278063" cy="1852612"/>
            </a:xfrm>
            <a:custGeom>
              <a:avLst/>
              <a:gdLst/>
              <a:ahLst/>
              <a:cxnLst/>
              <a:rect l="0" t="0" r="r" b="b"/>
              <a:pathLst>
                <a:path w="5564" h="4525">
                  <a:moveTo>
                    <a:pt x="4933" y="1479"/>
                  </a:moveTo>
                  <a:cubicBezTo>
                    <a:pt x="4877" y="1381"/>
                    <a:pt x="4814" y="1287"/>
                    <a:pt x="4746" y="1198"/>
                  </a:cubicBezTo>
                  <a:cubicBezTo>
                    <a:pt x="4628" y="1587"/>
                    <a:pt x="4628" y="1587"/>
                    <a:pt x="4628" y="1587"/>
                  </a:cubicBezTo>
                  <a:cubicBezTo>
                    <a:pt x="4623" y="1603"/>
                    <a:pt x="4623" y="1603"/>
                    <a:pt x="4623" y="1603"/>
                  </a:cubicBezTo>
                  <a:cubicBezTo>
                    <a:pt x="4620" y="1613"/>
                    <a:pt x="4620" y="1613"/>
                    <a:pt x="4620" y="1613"/>
                  </a:cubicBezTo>
                  <a:cubicBezTo>
                    <a:pt x="4223" y="1613"/>
                    <a:pt x="4223" y="1613"/>
                    <a:pt x="4223" y="1613"/>
                  </a:cubicBezTo>
                  <a:cubicBezTo>
                    <a:pt x="4223" y="1613"/>
                    <a:pt x="4223" y="1613"/>
                    <a:pt x="4223" y="1613"/>
                  </a:cubicBezTo>
                  <a:cubicBezTo>
                    <a:pt x="4134" y="1613"/>
                    <a:pt x="4061" y="1677"/>
                    <a:pt x="4061" y="1755"/>
                  </a:cubicBezTo>
                  <a:cubicBezTo>
                    <a:pt x="4061" y="1786"/>
                    <a:pt x="4072" y="1815"/>
                    <a:pt x="4093" y="1840"/>
                  </a:cubicBezTo>
                  <a:cubicBezTo>
                    <a:pt x="4093" y="1840"/>
                    <a:pt x="4119" y="1871"/>
                    <a:pt x="4119" y="1871"/>
                  </a:cubicBezTo>
                  <a:cubicBezTo>
                    <a:pt x="4119" y="1871"/>
                    <a:pt x="4395" y="2208"/>
                    <a:pt x="4395" y="2208"/>
                  </a:cubicBezTo>
                  <a:cubicBezTo>
                    <a:pt x="4404" y="2219"/>
                    <a:pt x="4404" y="2219"/>
                    <a:pt x="4404" y="2219"/>
                  </a:cubicBezTo>
                  <a:cubicBezTo>
                    <a:pt x="4404" y="2219"/>
                    <a:pt x="4404" y="2219"/>
                    <a:pt x="4404" y="2219"/>
                  </a:cubicBezTo>
                  <a:cubicBezTo>
                    <a:pt x="4478" y="2316"/>
                    <a:pt x="4496" y="2441"/>
                    <a:pt x="4457" y="2573"/>
                  </a:cubicBezTo>
                  <a:cubicBezTo>
                    <a:pt x="4416" y="2706"/>
                    <a:pt x="4319" y="2832"/>
                    <a:pt x="4185" y="2926"/>
                  </a:cubicBezTo>
                  <a:cubicBezTo>
                    <a:pt x="4050" y="3020"/>
                    <a:pt x="3892" y="3071"/>
                    <a:pt x="3741" y="3071"/>
                  </a:cubicBezTo>
                  <a:cubicBezTo>
                    <a:pt x="3131" y="3071"/>
                    <a:pt x="3131" y="3071"/>
                    <a:pt x="3131" y="3071"/>
                  </a:cubicBezTo>
                  <a:cubicBezTo>
                    <a:pt x="3136" y="3055"/>
                    <a:pt x="3136" y="3055"/>
                    <a:pt x="3136" y="3055"/>
                  </a:cubicBezTo>
                  <a:cubicBezTo>
                    <a:pt x="3144" y="3028"/>
                    <a:pt x="3144" y="3028"/>
                    <a:pt x="3144" y="3028"/>
                  </a:cubicBezTo>
                  <a:cubicBezTo>
                    <a:pt x="3266" y="2628"/>
                    <a:pt x="3266" y="2628"/>
                    <a:pt x="3266" y="2628"/>
                  </a:cubicBezTo>
                  <a:cubicBezTo>
                    <a:pt x="3271" y="2611"/>
                    <a:pt x="3271" y="2611"/>
                    <a:pt x="3271" y="2611"/>
                  </a:cubicBezTo>
                  <a:cubicBezTo>
                    <a:pt x="3273" y="2603"/>
                    <a:pt x="3273" y="2603"/>
                    <a:pt x="3273" y="2603"/>
                  </a:cubicBezTo>
                  <a:cubicBezTo>
                    <a:pt x="3665" y="2603"/>
                    <a:pt x="3665" y="2603"/>
                    <a:pt x="3665" y="2603"/>
                  </a:cubicBezTo>
                  <a:cubicBezTo>
                    <a:pt x="3665" y="2603"/>
                    <a:pt x="3672" y="2603"/>
                    <a:pt x="3671" y="2603"/>
                  </a:cubicBezTo>
                  <a:cubicBezTo>
                    <a:pt x="3761" y="2603"/>
                    <a:pt x="3834" y="2539"/>
                    <a:pt x="3834" y="2461"/>
                  </a:cubicBezTo>
                  <a:cubicBezTo>
                    <a:pt x="3834" y="2430"/>
                    <a:pt x="3823" y="2401"/>
                    <a:pt x="3802" y="2376"/>
                  </a:cubicBezTo>
                  <a:cubicBezTo>
                    <a:pt x="3802" y="2376"/>
                    <a:pt x="3791" y="2363"/>
                    <a:pt x="3791" y="2363"/>
                  </a:cubicBezTo>
                  <a:cubicBezTo>
                    <a:pt x="3499" y="2007"/>
                    <a:pt x="3499" y="2007"/>
                    <a:pt x="3499" y="2007"/>
                  </a:cubicBezTo>
                  <a:cubicBezTo>
                    <a:pt x="3490" y="1996"/>
                    <a:pt x="3490" y="1996"/>
                    <a:pt x="3490" y="1996"/>
                  </a:cubicBezTo>
                  <a:cubicBezTo>
                    <a:pt x="3490" y="1995"/>
                    <a:pt x="3490" y="1995"/>
                    <a:pt x="3490" y="1995"/>
                  </a:cubicBezTo>
                  <a:cubicBezTo>
                    <a:pt x="3417" y="1899"/>
                    <a:pt x="3398" y="1774"/>
                    <a:pt x="3438" y="1642"/>
                  </a:cubicBezTo>
                  <a:cubicBezTo>
                    <a:pt x="3478" y="1509"/>
                    <a:pt x="3575" y="1383"/>
                    <a:pt x="3710" y="1289"/>
                  </a:cubicBezTo>
                  <a:cubicBezTo>
                    <a:pt x="3844" y="1195"/>
                    <a:pt x="4002" y="1143"/>
                    <a:pt x="4153" y="1143"/>
                  </a:cubicBezTo>
                  <a:cubicBezTo>
                    <a:pt x="4704" y="1143"/>
                    <a:pt x="4704" y="1143"/>
                    <a:pt x="4704" y="1143"/>
                  </a:cubicBezTo>
                  <a:cubicBezTo>
                    <a:pt x="4124" y="423"/>
                    <a:pt x="3164" y="0"/>
                    <a:pt x="2254" y="47"/>
                  </a:cubicBezTo>
                  <a:cubicBezTo>
                    <a:pt x="2112" y="516"/>
                    <a:pt x="2112" y="516"/>
                    <a:pt x="2112" y="516"/>
                  </a:cubicBezTo>
                  <a:cubicBezTo>
                    <a:pt x="2107" y="532"/>
                    <a:pt x="2107" y="532"/>
                    <a:pt x="2107" y="532"/>
                  </a:cubicBezTo>
                  <a:cubicBezTo>
                    <a:pt x="2104" y="541"/>
                    <a:pt x="2104" y="541"/>
                    <a:pt x="2104" y="541"/>
                  </a:cubicBezTo>
                  <a:cubicBezTo>
                    <a:pt x="1493" y="541"/>
                    <a:pt x="1493" y="541"/>
                    <a:pt x="1493" y="541"/>
                  </a:cubicBezTo>
                  <a:cubicBezTo>
                    <a:pt x="1498" y="525"/>
                    <a:pt x="1498" y="525"/>
                    <a:pt x="1498" y="525"/>
                  </a:cubicBezTo>
                  <a:cubicBezTo>
                    <a:pt x="1506" y="498"/>
                    <a:pt x="1506" y="498"/>
                    <a:pt x="1506" y="498"/>
                  </a:cubicBezTo>
                  <a:cubicBezTo>
                    <a:pt x="1606" y="168"/>
                    <a:pt x="1606" y="168"/>
                    <a:pt x="1606" y="168"/>
                  </a:cubicBezTo>
                  <a:cubicBezTo>
                    <a:pt x="440" y="558"/>
                    <a:pt x="0" y="1752"/>
                    <a:pt x="627" y="2852"/>
                  </a:cubicBezTo>
                  <a:cubicBezTo>
                    <a:pt x="660" y="2909"/>
                    <a:pt x="695" y="2966"/>
                    <a:pt x="733" y="3021"/>
                  </a:cubicBezTo>
                  <a:cubicBezTo>
                    <a:pt x="1294" y="1168"/>
                    <a:pt x="1294" y="1168"/>
                    <a:pt x="1294" y="1168"/>
                  </a:cubicBezTo>
                  <a:cubicBezTo>
                    <a:pt x="1299" y="1151"/>
                    <a:pt x="1299" y="1151"/>
                    <a:pt x="1299" y="1151"/>
                  </a:cubicBezTo>
                  <a:cubicBezTo>
                    <a:pt x="1302" y="1142"/>
                    <a:pt x="1302" y="1142"/>
                    <a:pt x="1302" y="1142"/>
                  </a:cubicBezTo>
                  <a:cubicBezTo>
                    <a:pt x="1913" y="1142"/>
                    <a:pt x="1913" y="1142"/>
                    <a:pt x="1913" y="1142"/>
                  </a:cubicBezTo>
                  <a:cubicBezTo>
                    <a:pt x="1908" y="1159"/>
                    <a:pt x="1908" y="1159"/>
                    <a:pt x="1908" y="1159"/>
                  </a:cubicBezTo>
                  <a:cubicBezTo>
                    <a:pt x="1900" y="1186"/>
                    <a:pt x="1900" y="1186"/>
                    <a:pt x="1900" y="1186"/>
                  </a:cubicBezTo>
                  <a:cubicBezTo>
                    <a:pt x="1335" y="3049"/>
                    <a:pt x="1335" y="3049"/>
                    <a:pt x="1335" y="3049"/>
                  </a:cubicBezTo>
                  <a:cubicBezTo>
                    <a:pt x="1330" y="3065"/>
                    <a:pt x="1330" y="3065"/>
                    <a:pt x="1330" y="3065"/>
                  </a:cubicBezTo>
                  <a:cubicBezTo>
                    <a:pt x="1328" y="3074"/>
                    <a:pt x="1328" y="3074"/>
                    <a:pt x="1328" y="3074"/>
                  </a:cubicBezTo>
                  <a:cubicBezTo>
                    <a:pt x="770" y="3074"/>
                    <a:pt x="770" y="3074"/>
                    <a:pt x="770" y="3074"/>
                  </a:cubicBezTo>
                  <a:cubicBezTo>
                    <a:pt x="1462" y="4037"/>
                    <a:pt x="2817" y="4525"/>
                    <a:pt x="3924" y="4172"/>
                  </a:cubicBezTo>
                  <a:cubicBezTo>
                    <a:pt x="5113" y="3793"/>
                    <a:pt x="5564" y="2587"/>
                    <a:pt x="4933" y="1479"/>
                  </a:cubicBezTo>
                  <a:moveTo>
                    <a:pt x="3057" y="2573"/>
                  </a:moveTo>
                  <a:cubicBezTo>
                    <a:pt x="3016" y="2706"/>
                    <a:pt x="2920" y="2832"/>
                    <a:pt x="2785" y="2926"/>
                  </a:cubicBezTo>
                  <a:cubicBezTo>
                    <a:pt x="2650" y="3020"/>
                    <a:pt x="2493" y="3071"/>
                    <a:pt x="2341" y="3071"/>
                  </a:cubicBezTo>
                  <a:cubicBezTo>
                    <a:pt x="1731" y="3071"/>
                    <a:pt x="1731" y="3071"/>
                    <a:pt x="1731" y="3071"/>
                  </a:cubicBezTo>
                  <a:cubicBezTo>
                    <a:pt x="1736" y="3055"/>
                    <a:pt x="1736" y="3055"/>
                    <a:pt x="1736" y="3055"/>
                  </a:cubicBezTo>
                  <a:cubicBezTo>
                    <a:pt x="1745" y="3028"/>
                    <a:pt x="1745" y="3028"/>
                    <a:pt x="1745" y="3028"/>
                  </a:cubicBezTo>
                  <a:cubicBezTo>
                    <a:pt x="1866" y="2628"/>
                    <a:pt x="1866" y="2628"/>
                    <a:pt x="1866" y="2628"/>
                  </a:cubicBezTo>
                  <a:cubicBezTo>
                    <a:pt x="1871" y="2611"/>
                    <a:pt x="1871" y="2611"/>
                    <a:pt x="1871" y="2611"/>
                  </a:cubicBezTo>
                  <a:cubicBezTo>
                    <a:pt x="1874" y="2603"/>
                    <a:pt x="1874" y="2603"/>
                    <a:pt x="1874" y="2603"/>
                  </a:cubicBezTo>
                  <a:cubicBezTo>
                    <a:pt x="2265" y="2603"/>
                    <a:pt x="2265" y="2603"/>
                    <a:pt x="2265" y="2603"/>
                  </a:cubicBezTo>
                  <a:cubicBezTo>
                    <a:pt x="2265" y="2603"/>
                    <a:pt x="2272" y="2603"/>
                    <a:pt x="2272" y="2603"/>
                  </a:cubicBezTo>
                  <a:cubicBezTo>
                    <a:pt x="2361" y="2603"/>
                    <a:pt x="2434" y="2539"/>
                    <a:pt x="2434" y="2461"/>
                  </a:cubicBezTo>
                  <a:cubicBezTo>
                    <a:pt x="2434" y="2430"/>
                    <a:pt x="2423" y="2401"/>
                    <a:pt x="2402" y="2376"/>
                  </a:cubicBezTo>
                  <a:cubicBezTo>
                    <a:pt x="2403" y="2376"/>
                    <a:pt x="2391" y="2363"/>
                    <a:pt x="2391" y="2363"/>
                  </a:cubicBezTo>
                  <a:cubicBezTo>
                    <a:pt x="2099" y="2007"/>
                    <a:pt x="2099" y="2007"/>
                    <a:pt x="2099" y="2007"/>
                  </a:cubicBezTo>
                  <a:cubicBezTo>
                    <a:pt x="2099" y="2007"/>
                    <a:pt x="2090" y="1995"/>
                    <a:pt x="2090" y="1995"/>
                  </a:cubicBezTo>
                  <a:cubicBezTo>
                    <a:pt x="2090" y="1995"/>
                    <a:pt x="2090" y="1995"/>
                    <a:pt x="2090" y="1995"/>
                  </a:cubicBezTo>
                  <a:cubicBezTo>
                    <a:pt x="2017" y="1898"/>
                    <a:pt x="1998" y="1774"/>
                    <a:pt x="2038" y="1642"/>
                  </a:cubicBezTo>
                  <a:cubicBezTo>
                    <a:pt x="2079" y="1509"/>
                    <a:pt x="2175" y="1383"/>
                    <a:pt x="2310" y="1289"/>
                  </a:cubicBezTo>
                  <a:cubicBezTo>
                    <a:pt x="2445" y="1195"/>
                    <a:pt x="2602" y="1143"/>
                    <a:pt x="2753" y="1143"/>
                  </a:cubicBezTo>
                  <a:cubicBezTo>
                    <a:pt x="3362" y="1143"/>
                    <a:pt x="3362" y="1143"/>
                    <a:pt x="3362" y="1143"/>
                  </a:cubicBezTo>
                  <a:cubicBezTo>
                    <a:pt x="3358" y="1160"/>
                    <a:pt x="3358" y="1160"/>
                    <a:pt x="3358" y="1160"/>
                  </a:cubicBezTo>
                  <a:cubicBezTo>
                    <a:pt x="3349" y="1187"/>
                    <a:pt x="3349" y="1187"/>
                    <a:pt x="3349" y="1187"/>
                  </a:cubicBezTo>
                  <a:cubicBezTo>
                    <a:pt x="3228" y="1587"/>
                    <a:pt x="3228" y="1587"/>
                    <a:pt x="3228" y="1587"/>
                  </a:cubicBezTo>
                  <a:cubicBezTo>
                    <a:pt x="3223" y="1603"/>
                    <a:pt x="3223" y="1603"/>
                    <a:pt x="3223" y="1603"/>
                  </a:cubicBezTo>
                  <a:cubicBezTo>
                    <a:pt x="3220" y="1613"/>
                    <a:pt x="3220" y="1613"/>
                    <a:pt x="3220" y="1613"/>
                  </a:cubicBezTo>
                  <a:cubicBezTo>
                    <a:pt x="2824" y="1613"/>
                    <a:pt x="2824" y="1613"/>
                    <a:pt x="2824" y="1613"/>
                  </a:cubicBezTo>
                  <a:cubicBezTo>
                    <a:pt x="2824" y="1613"/>
                    <a:pt x="2824" y="1613"/>
                    <a:pt x="2824" y="1613"/>
                  </a:cubicBezTo>
                  <a:cubicBezTo>
                    <a:pt x="2734" y="1613"/>
                    <a:pt x="2661" y="1677"/>
                    <a:pt x="2661" y="1755"/>
                  </a:cubicBezTo>
                  <a:cubicBezTo>
                    <a:pt x="2661" y="1786"/>
                    <a:pt x="2672" y="1815"/>
                    <a:pt x="2693" y="1840"/>
                  </a:cubicBezTo>
                  <a:cubicBezTo>
                    <a:pt x="2693" y="1840"/>
                    <a:pt x="2719" y="1871"/>
                    <a:pt x="2720" y="1871"/>
                  </a:cubicBezTo>
                  <a:cubicBezTo>
                    <a:pt x="2996" y="2208"/>
                    <a:pt x="2996" y="2208"/>
                    <a:pt x="2996" y="2208"/>
                  </a:cubicBezTo>
                  <a:cubicBezTo>
                    <a:pt x="2996" y="2208"/>
                    <a:pt x="3004" y="2219"/>
                    <a:pt x="3004" y="2219"/>
                  </a:cubicBezTo>
                  <a:cubicBezTo>
                    <a:pt x="3004" y="2219"/>
                    <a:pt x="3004" y="2219"/>
                    <a:pt x="3004" y="2219"/>
                  </a:cubicBezTo>
                  <a:cubicBezTo>
                    <a:pt x="3078" y="2316"/>
                    <a:pt x="3097" y="2441"/>
                    <a:pt x="3057" y="2573"/>
                  </a:cubicBezTo>
                </a:path>
              </a:pathLst>
            </a:custGeom>
            <a:solidFill>
              <a:srgbClr val="003459"/>
            </a:solidFill>
            <a:ln>
              <a:noFill/>
            </a:ln>
          </p:spPr>
        </p:sp>
      </p:grpSp>
      <p:sp>
        <p:nvSpPr>
          <p:cNvPr id="11" name="Titel 1"/>
          <p:cNvSpPr>
            <a:spLocks noGrp="1"/>
          </p:cNvSpPr>
          <p:nvPr>
            <p:ph type="ctrTitle"/>
          </p:nvPr>
        </p:nvSpPr>
        <p:spPr>
          <a:xfrm>
            <a:off x="499200" y="3974400"/>
            <a:ext cx="11227200" cy="5328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Undertitel 2"/>
          <p:cNvSpPr>
            <a:spLocks noGrp="1"/>
          </p:cNvSpPr>
          <p:nvPr>
            <p:ph type="subTitle" idx="1"/>
          </p:nvPr>
        </p:nvSpPr>
        <p:spPr>
          <a:xfrm>
            <a:off x="1502400" y="4694400"/>
            <a:ext cx="9244800" cy="698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3" name="Ellipse 4"/>
          <p:cNvSpPr/>
          <p:nvPr/>
        </p:nvSpPr>
        <p:spPr>
          <a:xfrm rot="1140488">
            <a:off x="10939097" y="5945096"/>
            <a:ext cx="979200" cy="720080"/>
          </a:xfrm>
          <a:prstGeom prst="ellipse">
            <a:avLst/>
          </a:prstGeom>
          <a:solidFill>
            <a:srgbClr val="0034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3719686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0400" y="1173600"/>
            <a:ext cx="10939200" cy="48024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87CC0-2E73-4B64-8662-52AC05BB44CF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2897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87CC0-2E73-4B64-8662-52AC05BB44CF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2082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subtitle and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914" y="0"/>
            <a:ext cx="11306175" cy="727200"/>
          </a:xfrm>
          <a:prstGeom prst="rect">
            <a:avLst/>
          </a:prstGeom>
        </p:spPr>
        <p:txBody>
          <a:bodyPr anchor="ctr"/>
          <a:lstStyle/>
          <a:p>
            <a:r>
              <a:rPr lang="en-GB" noProof="0" dirty="0"/>
              <a:t>Click to edit Master title style</a:t>
            </a:r>
          </a:p>
        </p:txBody>
      </p:sp>
      <p:cxnSp>
        <p:nvCxnSpPr>
          <p:cNvPr id="7" name="Lige forbindelse 6"/>
          <p:cNvCxnSpPr/>
          <p:nvPr/>
        </p:nvCxnSpPr>
        <p:spPr>
          <a:xfrm>
            <a:off x="0" y="726604"/>
            <a:ext cx="121932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42914" y="827361"/>
            <a:ext cx="11306173" cy="2644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GB" noProof="0" dirty="0"/>
              <a:t>Click to add sub-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914" y="1268414"/>
            <a:ext cx="11306173" cy="4248151"/>
          </a:xfrm>
          <a:prstGeom prst="rect">
            <a:avLst/>
          </a:prstGeom>
        </p:spPr>
        <p:txBody>
          <a:bodyPr>
            <a:normAutofit/>
          </a:bodyPr>
          <a:lstStyle>
            <a:lvl1pPr marL="179384" indent="-179384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1pPr>
            <a:lvl2pPr marL="342891" indent="0">
              <a:buNone/>
              <a:defRPr sz="900"/>
            </a:lvl2pPr>
            <a:lvl3pPr marL="685783" indent="0">
              <a:buNone/>
              <a:defRPr sz="751"/>
            </a:lvl3pPr>
            <a:lvl4pPr marL="1028674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9" indent="0">
              <a:buNone/>
              <a:defRPr sz="675"/>
            </a:lvl7pPr>
            <a:lvl8pPr marL="2400240" indent="0">
              <a:buNone/>
              <a:defRPr sz="675"/>
            </a:lvl8pPr>
            <a:lvl9pPr marL="2743131" indent="0">
              <a:buNone/>
              <a:defRPr sz="675"/>
            </a:lvl9pPr>
          </a:lstStyle>
          <a:p>
            <a:pPr lvl="0"/>
            <a:r>
              <a:rPr lang="en-GB" noProof="0" dirty="0"/>
              <a:t>Click to add body text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CE6C91A-EAB6-4F46-8C14-F2D13CE33EB4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6348414" y="6504605"/>
            <a:ext cx="4624391" cy="35339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800">
                <a:solidFill>
                  <a:schemeClr val="bg1"/>
                </a:solidFill>
              </a:defRPr>
            </a:lvl1pPr>
            <a:lvl2pPr marL="342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footer text</a:t>
            </a:r>
          </a:p>
        </p:txBody>
      </p:sp>
    </p:spTree>
    <p:extLst>
      <p:ext uri="{BB962C8B-B14F-4D97-AF65-F5344CB8AC3E}">
        <p14:creationId xmlns:p14="http://schemas.microsoft.com/office/powerpoint/2010/main" val="2697449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 dirty="0"/>
              <a:t>Klik for at redigere i master</a:t>
            </a:r>
            <a:endParaRPr lang="en-US" noProof="0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70400" y="1138486"/>
            <a:ext cx="10939200" cy="4802400"/>
          </a:xfrm>
        </p:spPr>
        <p:txBody>
          <a:bodyPr/>
          <a:lstStyle>
            <a:lvl1pPr marL="270000" indent="-270000">
              <a:defRPr lang="da-DK" sz="240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79300" indent="-342900">
              <a:defRPr lang="da-DK" sz="200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68550" indent="-285750">
              <a:defRPr lang="da-DK" sz="180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25750" indent="-285750">
              <a:defRPr lang="da-DK" sz="180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168550" indent="-285750">
              <a:defRPr lang="en-US" sz="180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360000" lvl="0" indent="-360000" algn="l" defTabSz="514350" rtl="0" eaLnBrk="1" latinLnBrk="0" hangingPunct="1">
              <a:spcBef>
                <a:spcPts val="1440"/>
              </a:spcBef>
              <a:buFontTx/>
              <a:buBlip>
                <a:blip r:embed="rId2"/>
              </a:buBlip>
            </a:pPr>
            <a:r>
              <a:rPr lang="da-DK" noProof="0" dirty="0"/>
              <a:t>Klik for at redigere i master</a:t>
            </a:r>
          </a:p>
          <a:p>
            <a:pPr marL="360000" lvl="1" indent="-360000" algn="l" defTabSz="514350" rtl="0" eaLnBrk="1" latinLnBrk="0" hangingPunct="1">
              <a:spcBef>
                <a:spcPts val="1440"/>
              </a:spcBef>
              <a:buFontTx/>
              <a:buBlip>
                <a:blip r:embed="rId2"/>
              </a:buBlip>
            </a:pPr>
            <a:r>
              <a:rPr lang="da-DK" noProof="0" dirty="0"/>
              <a:t>Andet niveau</a:t>
            </a:r>
          </a:p>
          <a:p>
            <a:pPr marL="360000" lvl="2" indent="-360000" algn="l" defTabSz="514350" rtl="0" eaLnBrk="1" latinLnBrk="0" hangingPunct="1">
              <a:spcBef>
                <a:spcPts val="1440"/>
              </a:spcBef>
              <a:buFontTx/>
              <a:buBlip>
                <a:blip r:embed="rId2"/>
              </a:buBlip>
            </a:pPr>
            <a:r>
              <a:rPr lang="da-DK" noProof="0" dirty="0"/>
              <a:t>Tredje niveau</a:t>
            </a:r>
          </a:p>
          <a:p>
            <a:pPr marL="360000" lvl="3" indent="-360000" algn="l" defTabSz="514350" rtl="0" eaLnBrk="1" latinLnBrk="0" hangingPunct="1">
              <a:spcBef>
                <a:spcPts val="1440"/>
              </a:spcBef>
              <a:buFontTx/>
              <a:buBlip>
                <a:blip r:embed="rId2"/>
              </a:buBlip>
            </a:pPr>
            <a:r>
              <a:rPr lang="da-DK" noProof="0" dirty="0"/>
              <a:t>Fjerde niveau</a:t>
            </a:r>
          </a:p>
          <a:p>
            <a:pPr marL="360000" lvl="4" indent="-360000" algn="l" defTabSz="514350" rtl="0" eaLnBrk="1" latinLnBrk="0" hangingPunct="1">
              <a:spcBef>
                <a:spcPts val="1440"/>
              </a:spcBef>
              <a:buFontTx/>
              <a:buBlip>
                <a:blip r:embed="rId2"/>
              </a:buBlip>
            </a:pPr>
            <a:r>
              <a:rPr lang="da-DK" noProof="0" dirty="0"/>
              <a:t>Femte niveau</a:t>
            </a:r>
            <a:endParaRPr lang="en-US" noProof="0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6C91A-EAB6-4F46-8C14-F2D13CE33EB4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5" name="Lige forbindelse 12"/>
          <p:cNvCxnSpPr/>
          <p:nvPr userDrawn="1"/>
        </p:nvCxnSpPr>
        <p:spPr>
          <a:xfrm>
            <a:off x="0" y="726604"/>
            <a:ext cx="121932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54458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345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0" y="6500626"/>
            <a:ext cx="12192000" cy="352800"/>
          </a:xfrm>
        </p:spPr>
        <p:txBody>
          <a:bodyPr/>
          <a:lstStyle/>
          <a:p>
            <a:fld id="{BCE6C91A-EAB6-4F46-8C14-F2D13CE33EB4}" type="slidenum">
              <a:rPr lang="en-US" noProof="0" smtClean="0"/>
              <a:t>‹#›</a:t>
            </a:fld>
            <a:endParaRPr lang="en-US" noProof="0" dirty="0"/>
          </a:p>
        </p:txBody>
      </p:sp>
      <p:grpSp>
        <p:nvGrpSpPr>
          <p:cNvPr id="7" name="Gruppe 8"/>
          <p:cNvGrpSpPr/>
          <p:nvPr userDrawn="1"/>
        </p:nvGrpSpPr>
        <p:grpSpPr>
          <a:xfrm>
            <a:off x="0" y="5423231"/>
            <a:ext cx="12192000" cy="1434769"/>
            <a:chOff x="0" y="5423231"/>
            <a:chExt cx="12192000" cy="1434769"/>
          </a:xfrm>
        </p:grpSpPr>
        <p:grpSp>
          <p:nvGrpSpPr>
            <p:cNvPr id="8" name="Gruppe 3"/>
            <p:cNvGrpSpPr/>
            <p:nvPr/>
          </p:nvGrpSpPr>
          <p:grpSpPr>
            <a:xfrm>
              <a:off x="0" y="5423231"/>
              <a:ext cx="12192000" cy="1434769"/>
              <a:chOff x="0" y="5423231"/>
              <a:chExt cx="12192000" cy="1434769"/>
            </a:xfrm>
          </p:grpSpPr>
          <p:sp>
            <p:nvSpPr>
              <p:cNvPr id="13" name="Freeform 11"/>
              <p:cNvSpPr>
                <a:spLocks/>
              </p:cNvSpPr>
              <p:nvPr/>
            </p:nvSpPr>
            <p:spPr bwMode="auto">
              <a:xfrm>
                <a:off x="0" y="5423231"/>
                <a:ext cx="12192000" cy="1412776"/>
              </a:xfrm>
              <a:custGeom>
                <a:avLst/>
                <a:gdLst>
                  <a:gd name="T0" fmla="*/ 0 w 38400"/>
                  <a:gd name="T1" fmla="*/ 1047 h 4469"/>
                  <a:gd name="T2" fmla="*/ 0 w 38400"/>
                  <a:gd name="T3" fmla="*/ 4469 h 4469"/>
                  <a:gd name="T4" fmla="*/ 38400 w 38400"/>
                  <a:gd name="T5" fmla="*/ 4469 h 4469"/>
                  <a:gd name="T6" fmla="*/ 38400 w 38400"/>
                  <a:gd name="T7" fmla="*/ 0 h 4469"/>
                  <a:gd name="T8" fmla="*/ 0 w 38400"/>
                  <a:gd name="T9" fmla="*/ 1047 h 4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400" h="4469">
                    <a:moveTo>
                      <a:pt x="0" y="1047"/>
                    </a:moveTo>
                    <a:cubicBezTo>
                      <a:pt x="0" y="4469"/>
                      <a:pt x="0" y="4469"/>
                      <a:pt x="0" y="4469"/>
                    </a:cubicBezTo>
                    <a:cubicBezTo>
                      <a:pt x="38400" y="4469"/>
                      <a:pt x="38400" y="4469"/>
                      <a:pt x="38400" y="4469"/>
                    </a:cubicBezTo>
                    <a:cubicBezTo>
                      <a:pt x="38400" y="0"/>
                      <a:pt x="38400" y="0"/>
                      <a:pt x="38400" y="0"/>
                    </a:cubicBezTo>
                    <a:cubicBezTo>
                      <a:pt x="26118" y="3710"/>
                      <a:pt x="12821" y="3859"/>
                      <a:pt x="0" y="10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Freeform 11"/>
              <p:cNvSpPr>
                <a:spLocks/>
              </p:cNvSpPr>
              <p:nvPr/>
            </p:nvSpPr>
            <p:spPr bwMode="auto">
              <a:xfrm>
                <a:off x="0" y="5445224"/>
                <a:ext cx="12192000" cy="1412776"/>
              </a:xfrm>
              <a:custGeom>
                <a:avLst/>
                <a:gdLst>
                  <a:gd name="T0" fmla="*/ 0 w 38400"/>
                  <a:gd name="T1" fmla="*/ 1047 h 4469"/>
                  <a:gd name="T2" fmla="*/ 0 w 38400"/>
                  <a:gd name="T3" fmla="*/ 4469 h 4469"/>
                  <a:gd name="T4" fmla="*/ 38400 w 38400"/>
                  <a:gd name="T5" fmla="*/ 4469 h 4469"/>
                  <a:gd name="T6" fmla="*/ 38400 w 38400"/>
                  <a:gd name="T7" fmla="*/ 0 h 4469"/>
                  <a:gd name="T8" fmla="*/ 0 w 38400"/>
                  <a:gd name="T9" fmla="*/ 1047 h 4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400" h="4469">
                    <a:moveTo>
                      <a:pt x="0" y="1047"/>
                    </a:moveTo>
                    <a:cubicBezTo>
                      <a:pt x="0" y="4469"/>
                      <a:pt x="0" y="4469"/>
                      <a:pt x="0" y="4469"/>
                    </a:cubicBezTo>
                    <a:cubicBezTo>
                      <a:pt x="38400" y="4469"/>
                      <a:pt x="38400" y="4469"/>
                      <a:pt x="38400" y="4469"/>
                    </a:cubicBezTo>
                    <a:cubicBezTo>
                      <a:pt x="38400" y="0"/>
                      <a:pt x="38400" y="0"/>
                      <a:pt x="38400" y="0"/>
                    </a:cubicBezTo>
                    <a:cubicBezTo>
                      <a:pt x="26118" y="3710"/>
                      <a:pt x="12821" y="3859"/>
                      <a:pt x="0" y="1047"/>
                    </a:cubicBezTo>
                    <a:close/>
                  </a:path>
                </a:pathLst>
              </a:custGeom>
              <a:solidFill>
                <a:srgbClr val="00345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9" name="Gruppe 22"/>
            <p:cNvGrpSpPr/>
            <p:nvPr/>
          </p:nvGrpSpPr>
          <p:grpSpPr>
            <a:xfrm>
              <a:off x="10981119" y="5913438"/>
              <a:ext cx="906463" cy="777875"/>
              <a:chOff x="10072688" y="5913438"/>
              <a:chExt cx="906463" cy="777875"/>
            </a:xfrm>
          </p:grpSpPr>
          <p:sp>
            <p:nvSpPr>
              <p:cNvPr id="11" name="Freeform 6"/>
              <p:cNvSpPr>
                <a:spLocks/>
              </p:cNvSpPr>
              <p:nvPr/>
            </p:nvSpPr>
            <p:spPr bwMode="auto">
              <a:xfrm>
                <a:off x="10072688" y="5913438"/>
                <a:ext cx="906463" cy="777875"/>
              </a:xfrm>
              <a:custGeom>
                <a:avLst/>
                <a:gdLst>
                  <a:gd name="T0" fmla="*/ 4187 w 5935"/>
                  <a:gd name="T1" fmla="*/ 4681 h 5085"/>
                  <a:gd name="T2" fmla="*/ 5262 w 5935"/>
                  <a:gd name="T3" fmla="*/ 1811 h 5085"/>
                  <a:gd name="T4" fmla="*/ 1749 w 5935"/>
                  <a:gd name="T5" fmla="*/ 403 h 5085"/>
                  <a:gd name="T6" fmla="*/ 674 w 5935"/>
                  <a:gd name="T7" fmla="*/ 3274 h 5085"/>
                  <a:gd name="T8" fmla="*/ 4187 w 5935"/>
                  <a:gd name="T9" fmla="*/ 4681 h 50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35" h="5085">
                    <a:moveTo>
                      <a:pt x="4187" y="4681"/>
                    </a:moveTo>
                    <a:cubicBezTo>
                      <a:pt x="5454" y="4277"/>
                      <a:pt x="5935" y="2992"/>
                      <a:pt x="5262" y="1811"/>
                    </a:cubicBezTo>
                    <a:cubicBezTo>
                      <a:pt x="4589" y="630"/>
                      <a:pt x="3016" y="0"/>
                      <a:pt x="1749" y="403"/>
                    </a:cubicBezTo>
                    <a:cubicBezTo>
                      <a:pt x="482" y="807"/>
                      <a:pt x="0" y="2092"/>
                      <a:pt x="674" y="3274"/>
                    </a:cubicBezTo>
                    <a:cubicBezTo>
                      <a:pt x="1347" y="4455"/>
                      <a:pt x="2920" y="5085"/>
                      <a:pt x="4187" y="468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" name="Freeform 7"/>
              <p:cNvSpPr>
                <a:spLocks noEditPoints="1"/>
              </p:cNvSpPr>
              <p:nvPr/>
            </p:nvSpPr>
            <p:spPr bwMode="auto">
              <a:xfrm>
                <a:off x="10101263" y="5970588"/>
                <a:ext cx="849313" cy="692150"/>
              </a:xfrm>
              <a:custGeom>
                <a:avLst/>
                <a:gdLst>
                  <a:gd name="T0" fmla="*/ 4746 w 5564"/>
                  <a:gd name="T1" fmla="*/ 1198 h 4525"/>
                  <a:gd name="T2" fmla="*/ 4623 w 5564"/>
                  <a:gd name="T3" fmla="*/ 1603 h 4525"/>
                  <a:gd name="T4" fmla="*/ 4223 w 5564"/>
                  <a:gd name="T5" fmla="*/ 1613 h 4525"/>
                  <a:gd name="T6" fmla="*/ 4061 w 5564"/>
                  <a:gd name="T7" fmla="*/ 1755 h 4525"/>
                  <a:gd name="T8" fmla="*/ 4119 w 5564"/>
                  <a:gd name="T9" fmla="*/ 1871 h 4525"/>
                  <a:gd name="T10" fmla="*/ 4404 w 5564"/>
                  <a:gd name="T11" fmla="*/ 2219 h 4525"/>
                  <a:gd name="T12" fmla="*/ 4457 w 5564"/>
                  <a:gd name="T13" fmla="*/ 2573 h 4525"/>
                  <a:gd name="T14" fmla="*/ 3741 w 5564"/>
                  <a:gd name="T15" fmla="*/ 3071 h 4525"/>
                  <a:gd name="T16" fmla="*/ 3136 w 5564"/>
                  <a:gd name="T17" fmla="*/ 3055 h 4525"/>
                  <a:gd name="T18" fmla="*/ 3266 w 5564"/>
                  <a:gd name="T19" fmla="*/ 2628 h 4525"/>
                  <a:gd name="T20" fmla="*/ 3273 w 5564"/>
                  <a:gd name="T21" fmla="*/ 2603 h 4525"/>
                  <a:gd name="T22" fmla="*/ 3671 w 5564"/>
                  <a:gd name="T23" fmla="*/ 2603 h 4525"/>
                  <a:gd name="T24" fmla="*/ 3802 w 5564"/>
                  <a:gd name="T25" fmla="*/ 2376 h 4525"/>
                  <a:gd name="T26" fmla="*/ 3499 w 5564"/>
                  <a:gd name="T27" fmla="*/ 2007 h 4525"/>
                  <a:gd name="T28" fmla="*/ 3490 w 5564"/>
                  <a:gd name="T29" fmla="*/ 1995 h 4525"/>
                  <a:gd name="T30" fmla="*/ 3710 w 5564"/>
                  <a:gd name="T31" fmla="*/ 1289 h 4525"/>
                  <a:gd name="T32" fmla="*/ 4704 w 5564"/>
                  <a:gd name="T33" fmla="*/ 1143 h 4525"/>
                  <a:gd name="T34" fmla="*/ 2112 w 5564"/>
                  <a:gd name="T35" fmla="*/ 516 h 4525"/>
                  <a:gd name="T36" fmla="*/ 2104 w 5564"/>
                  <a:gd name="T37" fmla="*/ 541 h 4525"/>
                  <a:gd name="T38" fmla="*/ 1498 w 5564"/>
                  <a:gd name="T39" fmla="*/ 525 h 4525"/>
                  <a:gd name="T40" fmla="*/ 1606 w 5564"/>
                  <a:gd name="T41" fmla="*/ 168 h 4525"/>
                  <a:gd name="T42" fmla="*/ 733 w 5564"/>
                  <a:gd name="T43" fmla="*/ 3021 h 4525"/>
                  <a:gd name="T44" fmla="*/ 1299 w 5564"/>
                  <a:gd name="T45" fmla="*/ 1151 h 4525"/>
                  <a:gd name="T46" fmla="*/ 1913 w 5564"/>
                  <a:gd name="T47" fmla="*/ 1142 h 4525"/>
                  <a:gd name="T48" fmla="*/ 1900 w 5564"/>
                  <a:gd name="T49" fmla="*/ 1186 h 4525"/>
                  <a:gd name="T50" fmla="*/ 1330 w 5564"/>
                  <a:gd name="T51" fmla="*/ 3065 h 4525"/>
                  <a:gd name="T52" fmla="*/ 770 w 5564"/>
                  <a:gd name="T53" fmla="*/ 3074 h 4525"/>
                  <a:gd name="T54" fmla="*/ 4933 w 5564"/>
                  <a:gd name="T55" fmla="*/ 1479 h 4525"/>
                  <a:gd name="T56" fmla="*/ 2785 w 5564"/>
                  <a:gd name="T57" fmla="*/ 2926 h 4525"/>
                  <a:gd name="T58" fmla="*/ 1731 w 5564"/>
                  <a:gd name="T59" fmla="*/ 3071 h 4525"/>
                  <a:gd name="T60" fmla="*/ 1745 w 5564"/>
                  <a:gd name="T61" fmla="*/ 3028 h 4525"/>
                  <a:gd name="T62" fmla="*/ 1871 w 5564"/>
                  <a:gd name="T63" fmla="*/ 2611 h 4525"/>
                  <a:gd name="T64" fmla="*/ 2265 w 5564"/>
                  <a:gd name="T65" fmla="*/ 2603 h 4525"/>
                  <a:gd name="T66" fmla="*/ 2434 w 5564"/>
                  <a:gd name="T67" fmla="*/ 2461 h 4525"/>
                  <a:gd name="T68" fmla="*/ 2391 w 5564"/>
                  <a:gd name="T69" fmla="*/ 2363 h 4525"/>
                  <a:gd name="T70" fmla="*/ 2090 w 5564"/>
                  <a:gd name="T71" fmla="*/ 1995 h 4525"/>
                  <a:gd name="T72" fmla="*/ 2038 w 5564"/>
                  <a:gd name="T73" fmla="*/ 1642 h 4525"/>
                  <a:gd name="T74" fmla="*/ 2753 w 5564"/>
                  <a:gd name="T75" fmla="*/ 1143 h 4525"/>
                  <a:gd name="T76" fmla="*/ 3358 w 5564"/>
                  <a:gd name="T77" fmla="*/ 1160 h 4525"/>
                  <a:gd name="T78" fmla="*/ 3228 w 5564"/>
                  <a:gd name="T79" fmla="*/ 1587 h 4525"/>
                  <a:gd name="T80" fmla="*/ 3220 w 5564"/>
                  <a:gd name="T81" fmla="*/ 1613 h 4525"/>
                  <a:gd name="T82" fmla="*/ 2824 w 5564"/>
                  <a:gd name="T83" fmla="*/ 1613 h 4525"/>
                  <a:gd name="T84" fmla="*/ 2693 w 5564"/>
                  <a:gd name="T85" fmla="*/ 1840 h 4525"/>
                  <a:gd name="T86" fmla="*/ 2996 w 5564"/>
                  <a:gd name="T87" fmla="*/ 2208 h 4525"/>
                  <a:gd name="T88" fmla="*/ 3004 w 5564"/>
                  <a:gd name="T89" fmla="*/ 2219 h 4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564" h="4525">
                    <a:moveTo>
                      <a:pt x="4933" y="1479"/>
                    </a:moveTo>
                    <a:cubicBezTo>
                      <a:pt x="4877" y="1381"/>
                      <a:pt x="4814" y="1287"/>
                      <a:pt x="4746" y="1198"/>
                    </a:cubicBezTo>
                    <a:cubicBezTo>
                      <a:pt x="4628" y="1587"/>
                      <a:pt x="4628" y="1587"/>
                      <a:pt x="4628" y="1587"/>
                    </a:cubicBezTo>
                    <a:cubicBezTo>
                      <a:pt x="4623" y="1603"/>
                      <a:pt x="4623" y="1603"/>
                      <a:pt x="4623" y="1603"/>
                    </a:cubicBezTo>
                    <a:cubicBezTo>
                      <a:pt x="4620" y="1613"/>
                      <a:pt x="4620" y="1613"/>
                      <a:pt x="4620" y="1613"/>
                    </a:cubicBezTo>
                    <a:cubicBezTo>
                      <a:pt x="4223" y="1613"/>
                      <a:pt x="4223" y="1613"/>
                      <a:pt x="4223" y="1613"/>
                    </a:cubicBezTo>
                    <a:cubicBezTo>
                      <a:pt x="4223" y="1613"/>
                      <a:pt x="4223" y="1613"/>
                      <a:pt x="4223" y="1613"/>
                    </a:cubicBezTo>
                    <a:cubicBezTo>
                      <a:pt x="4134" y="1613"/>
                      <a:pt x="4061" y="1677"/>
                      <a:pt x="4061" y="1755"/>
                    </a:cubicBezTo>
                    <a:cubicBezTo>
                      <a:pt x="4061" y="1786"/>
                      <a:pt x="4072" y="1815"/>
                      <a:pt x="4093" y="1840"/>
                    </a:cubicBezTo>
                    <a:cubicBezTo>
                      <a:pt x="4093" y="1840"/>
                      <a:pt x="4119" y="1871"/>
                      <a:pt x="4119" y="1871"/>
                    </a:cubicBezTo>
                    <a:cubicBezTo>
                      <a:pt x="4119" y="1871"/>
                      <a:pt x="4395" y="2208"/>
                      <a:pt x="4395" y="2208"/>
                    </a:cubicBezTo>
                    <a:cubicBezTo>
                      <a:pt x="4404" y="2219"/>
                      <a:pt x="4404" y="2219"/>
                      <a:pt x="4404" y="2219"/>
                    </a:cubicBezTo>
                    <a:cubicBezTo>
                      <a:pt x="4404" y="2219"/>
                      <a:pt x="4404" y="2219"/>
                      <a:pt x="4404" y="2219"/>
                    </a:cubicBezTo>
                    <a:cubicBezTo>
                      <a:pt x="4478" y="2316"/>
                      <a:pt x="4496" y="2441"/>
                      <a:pt x="4457" y="2573"/>
                    </a:cubicBezTo>
                    <a:cubicBezTo>
                      <a:pt x="4416" y="2706"/>
                      <a:pt x="4319" y="2832"/>
                      <a:pt x="4185" y="2926"/>
                    </a:cubicBezTo>
                    <a:cubicBezTo>
                      <a:pt x="4050" y="3020"/>
                      <a:pt x="3892" y="3071"/>
                      <a:pt x="3741" y="3071"/>
                    </a:cubicBezTo>
                    <a:cubicBezTo>
                      <a:pt x="3131" y="3071"/>
                      <a:pt x="3131" y="3071"/>
                      <a:pt x="3131" y="3071"/>
                    </a:cubicBezTo>
                    <a:cubicBezTo>
                      <a:pt x="3136" y="3055"/>
                      <a:pt x="3136" y="3055"/>
                      <a:pt x="3136" y="3055"/>
                    </a:cubicBezTo>
                    <a:cubicBezTo>
                      <a:pt x="3144" y="3028"/>
                      <a:pt x="3144" y="3028"/>
                      <a:pt x="3144" y="3028"/>
                    </a:cubicBezTo>
                    <a:cubicBezTo>
                      <a:pt x="3266" y="2628"/>
                      <a:pt x="3266" y="2628"/>
                      <a:pt x="3266" y="2628"/>
                    </a:cubicBezTo>
                    <a:cubicBezTo>
                      <a:pt x="3271" y="2611"/>
                      <a:pt x="3271" y="2611"/>
                      <a:pt x="3271" y="2611"/>
                    </a:cubicBezTo>
                    <a:cubicBezTo>
                      <a:pt x="3273" y="2603"/>
                      <a:pt x="3273" y="2603"/>
                      <a:pt x="3273" y="2603"/>
                    </a:cubicBezTo>
                    <a:cubicBezTo>
                      <a:pt x="3665" y="2603"/>
                      <a:pt x="3665" y="2603"/>
                      <a:pt x="3665" y="2603"/>
                    </a:cubicBezTo>
                    <a:cubicBezTo>
                      <a:pt x="3665" y="2603"/>
                      <a:pt x="3672" y="2603"/>
                      <a:pt x="3671" y="2603"/>
                    </a:cubicBezTo>
                    <a:cubicBezTo>
                      <a:pt x="3761" y="2603"/>
                      <a:pt x="3834" y="2539"/>
                      <a:pt x="3834" y="2461"/>
                    </a:cubicBezTo>
                    <a:cubicBezTo>
                      <a:pt x="3834" y="2430"/>
                      <a:pt x="3823" y="2401"/>
                      <a:pt x="3802" y="2376"/>
                    </a:cubicBezTo>
                    <a:cubicBezTo>
                      <a:pt x="3802" y="2376"/>
                      <a:pt x="3791" y="2363"/>
                      <a:pt x="3791" y="2363"/>
                    </a:cubicBezTo>
                    <a:cubicBezTo>
                      <a:pt x="3499" y="2007"/>
                      <a:pt x="3499" y="2007"/>
                      <a:pt x="3499" y="2007"/>
                    </a:cubicBezTo>
                    <a:cubicBezTo>
                      <a:pt x="3490" y="1996"/>
                      <a:pt x="3490" y="1996"/>
                      <a:pt x="3490" y="1996"/>
                    </a:cubicBezTo>
                    <a:cubicBezTo>
                      <a:pt x="3490" y="1995"/>
                      <a:pt x="3490" y="1995"/>
                      <a:pt x="3490" y="1995"/>
                    </a:cubicBezTo>
                    <a:cubicBezTo>
                      <a:pt x="3417" y="1899"/>
                      <a:pt x="3398" y="1774"/>
                      <a:pt x="3438" y="1642"/>
                    </a:cubicBezTo>
                    <a:cubicBezTo>
                      <a:pt x="3478" y="1509"/>
                      <a:pt x="3575" y="1383"/>
                      <a:pt x="3710" y="1289"/>
                    </a:cubicBezTo>
                    <a:cubicBezTo>
                      <a:pt x="3844" y="1195"/>
                      <a:pt x="4002" y="1143"/>
                      <a:pt x="4153" y="1143"/>
                    </a:cubicBezTo>
                    <a:cubicBezTo>
                      <a:pt x="4704" y="1143"/>
                      <a:pt x="4704" y="1143"/>
                      <a:pt x="4704" y="1143"/>
                    </a:cubicBezTo>
                    <a:cubicBezTo>
                      <a:pt x="4124" y="423"/>
                      <a:pt x="3164" y="0"/>
                      <a:pt x="2254" y="47"/>
                    </a:cubicBezTo>
                    <a:cubicBezTo>
                      <a:pt x="2112" y="516"/>
                      <a:pt x="2112" y="516"/>
                      <a:pt x="2112" y="516"/>
                    </a:cubicBezTo>
                    <a:cubicBezTo>
                      <a:pt x="2107" y="532"/>
                      <a:pt x="2107" y="532"/>
                      <a:pt x="2107" y="532"/>
                    </a:cubicBezTo>
                    <a:cubicBezTo>
                      <a:pt x="2104" y="541"/>
                      <a:pt x="2104" y="541"/>
                      <a:pt x="2104" y="541"/>
                    </a:cubicBezTo>
                    <a:cubicBezTo>
                      <a:pt x="1493" y="541"/>
                      <a:pt x="1493" y="541"/>
                      <a:pt x="1493" y="541"/>
                    </a:cubicBezTo>
                    <a:cubicBezTo>
                      <a:pt x="1498" y="525"/>
                      <a:pt x="1498" y="525"/>
                      <a:pt x="1498" y="525"/>
                    </a:cubicBezTo>
                    <a:cubicBezTo>
                      <a:pt x="1506" y="498"/>
                      <a:pt x="1506" y="498"/>
                      <a:pt x="1506" y="498"/>
                    </a:cubicBezTo>
                    <a:cubicBezTo>
                      <a:pt x="1606" y="168"/>
                      <a:pt x="1606" y="168"/>
                      <a:pt x="1606" y="168"/>
                    </a:cubicBezTo>
                    <a:cubicBezTo>
                      <a:pt x="440" y="558"/>
                      <a:pt x="0" y="1752"/>
                      <a:pt x="627" y="2852"/>
                    </a:cubicBezTo>
                    <a:cubicBezTo>
                      <a:pt x="660" y="2909"/>
                      <a:pt x="695" y="2966"/>
                      <a:pt x="733" y="3021"/>
                    </a:cubicBezTo>
                    <a:cubicBezTo>
                      <a:pt x="1294" y="1168"/>
                      <a:pt x="1294" y="1168"/>
                      <a:pt x="1294" y="1168"/>
                    </a:cubicBezTo>
                    <a:cubicBezTo>
                      <a:pt x="1299" y="1151"/>
                      <a:pt x="1299" y="1151"/>
                      <a:pt x="1299" y="1151"/>
                    </a:cubicBezTo>
                    <a:cubicBezTo>
                      <a:pt x="1302" y="1142"/>
                      <a:pt x="1302" y="1142"/>
                      <a:pt x="1302" y="1142"/>
                    </a:cubicBezTo>
                    <a:cubicBezTo>
                      <a:pt x="1913" y="1142"/>
                      <a:pt x="1913" y="1142"/>
                      <a:pt x="1913" y="1142"/>
                    </a:cubicBezTo>
                    <a:cubicBezTo>
                      <a:pt x="1908" y="1159"/>
                      <a:pt x="1908" y="1159"/>
                      <a:pt x="1908" y="1159"/>
                    </a:cubicBezTo>
                    <a:cubicBezTo>
                      <a:pt x="1900" y="1186"/>
                      <a:pt x="1900" y="1186"/>
                      <a:pt x="1900" y="1186"/>
                    </a:cubicBezTo>
                    <a:cubicBezTo>
                      <a:pt x="1335" y="3049"/>
                      <a:pt x="1335" y="3049"/>
                      <a:pt x="1335" y="3049"/>
                    </a:cubicBezTo>
                    <a:cubicBezTo>
                      <a:pt x="1330" y="3065"/>
                      <a:pt x="1330" y="3065"/>
                      <a:pt x="1330" y="3065"/>
                    </a:cubicBezTo>
                    <a:cubicBezTo>
                      <a:pt x="1328" y="3074"/>
                      <a:pt x="1328" y="3074"/>
                      <a:pt x="1328" y="3074"/>
                    </a:cubicBezTo>
                    <a:cubicBezTo>
                      <a:pt x="770" y="3074"/>
                      <a:pt x="770" y="3074"/>
                      <a:pt x="770" y="3074"/>
                    </a:cubicBezTo>
                    <a:cubicBezTo>
                      <a:pt x="1462" y="4037"/>
                      <a:pt x="2817" y="4525"/>
                      <a:pt x="3924" y="4172"/>
                    </a:cubicBezTo>
                    <a:cubicBezTo>
                      <a:pt x="5113" y="3793"/>
                      <a:pt x="5564" y="2587"/>
                      <a:pt x="4933" y="1479"/>
                    </a:cubicBezTo>
                    <a:moveTo>
                      <a:pt x="3057" y="2573"/>
                    </a:moveTo>
                    <a:cubicBezTo>
                      <a:pt x="3016" y="2706"/>
                      <a:pt x="2920" y="2832"/>
                      <a:pt x="2785" y="2926"/>
                    </a:cubicBezTo>
                    <a:cubicBezTo>
                      <a:pt x="2650" y="3020"/>
                      <a:pt x="2493" y="3071"/>
                      <a:pt x="2341" y="3071"/>
                    </a:cubicBezTo>
                    <a:cubicBezTo>
                      <a:pt x="1731" y="3071"/>
                      <a:pt x="1731" y="3071"/>
                      <a:pt x="1731" y="3071"/>
                    </a:cubicBezTo>
                    <a:cubicBezTo>
                      <a:pt x="1736" y="3055"/>
                      <a:pt x="1736" y="3055"/>
                      <a:pt x="1736" y="3055"/>
                    </a:cubicBezTo>
                    <a:cubicBezTo>
                      <a:pt x="1745" y="3028"/>
                      <a:pt x="1745" y="3028"/>
                      <a:pt x="1745" y="3028"/>
                    </a:cubicBezTo>
                    <a:cubicBezTo>
                      <a:pt x="1866" y="2628"/>
                      <a:pt x="1866" y="2628"/>
                      <a:pt x="1866" y="2628"/>
                    </a:cubicBezTo>
                    <a:cubicBezTo>
                      <a:pt x="1871" y="2611"/>
                      <a:pt x="1871" y="2611"/>
                      <a:pt x="1871" y="2611"/>
                    </a:cubicBezTo>
                    <a:cubicBezTo>
                      <a:pt x="1874" y="2603"/>
                      <a:pt x="1874" y="2603"/>
                      <a:pt x="1874" y="2603"/>
                    </a:cubicBezTo>
                    <a:cubicBezTo>
                      <a:pt x="2265" y="2603"/>
                      <a:pt x="2265" y="2603"/>
                      <a:pt x="2265" y="2603"/>
                    </a:cubicBezTo>
                    <a:cubicBezTo>
                      <a:pt x="2265" y="2603"/>
                      <a:pt x="2272" y="2603"/>
                      <a:pt x="2272" y="2603"/>
                    </a:cubicBezTo>
                    <a:cubicBezTo>
                      <a:pt x="2361" y="2603"/>
                      <a:pt x="2434" y="2539"/>
                      <a:pt x="2434" y="2461"/>
                    </a:cubicBezTo>
                    <a:cubicBezTo>
                      <a:pt x="2434" y="2430"/>
                      <a:pt x="2423" y="2401"/>
                      <a:pt x="2402" y="2376"/>
                    </a:cubicBezTo>
                    <a:cubicBezTo>
                      <a:pt x="2403" y="2376"/>
                      <a:pt x="2391" y="2363"/>
                      <a:pt x="2391" y="2363"/>
                    </a:cubicBezTo>
                    <a:cubicBezTo>
                      <a:pt x="2099" y="2007"/>
                      <a:pt x="2099" y="2007"/>
                      <a:pt x="2099" y="2007"/>
                    </a:cubicBezTo>
                    <a:cubicBezTo>
                      <a:pt x="2099" y="2007"/>
                      <a:pt x="2090" y="1995"/>
                      <a:pt x="2090" y="1995"/>
                    </a:cubicBezTo>
                    <a:cubicBezTo>
                      <a:pt x="2090" y="1995"/>
                      <a:pt x="2090" y="1995"/>
                      <a:pt x="2090" y="1995"/>
                    </a:cubicBezTo>
                    <a:cubicBezTo>
                      <a:pt x="2017" y="1898"/>
                      <a:pt x="1998" y="1774"/>
                      <a:pt x="2038" y="1642"/>
                    </a:cubicBezTo>
                    <a:cubicBezTo>
                      <a:pt x="2079" y="1509"/>
                      <a:pt x="2175" y="1383"/>
                      <a:pt x="2310" y="1289"/>
                    </a:cubicBezTo>
                    <a:cubicBezTo>
                      <a:pt x="2445" y="1195"/>
                      <a:pt x="2602" y="1143"/>
                      <a:pt x="2753" y="1143"/>
                    </a:cubicBezTo>
                    <a:cubicBezTo>
                      <a:pt x="3362" y="1143"/>
                      <a:pt x="3362" y="1143"/>
                      <a:pt x="3362" y="1143"/>
                    </a:cubicBezTo>
                    <a:cubicBezTo>
                      <a:pt x="3358" y="1160"/>
                      <a:pt x="3358" y="1160"/>
                      <a:pt x="3358" y="1160"/>
                    </a:cubicBezTo>
                    <a:cubicBezTo>
                      <a:pt x="3349" y="1187"/>
                      <a:pt x="3349" y="1187"/>
                      <a:pt x="3349" y="1187"/>
                    </a:cubicBezTo>
                    <a:cubicBezTo>
                      <a:pt x="3228" y="1587"/>
                      <a:pt x="3228" y="1587"/>
                      <a:pt x="3228" y="1587"/>
                    </a:cubicBezTo>
                    <a:cubicBezTo>
                      <a:pt x="3223" y="1603"/>
                      <a:pt x="3223" y="1603"/>
                      <a:pt x="3223" y="1603"/>
                    </a:cubicBezTo>
                    <a:cubicBezTo>
                      <a:pt x="3220" y="1613"/>
                      <a:pt x="3220" y="1613"/>
                      <a:pt x="3220" y="1613"/>
                    </a:cubicBezTo>
                    <a:cubicBezTo>
                      <a:pt x="2824" y="1613"/>
                      <a:pt x="2824" y="1613"/>
                      <a:pt x="2824" y="1613"/>
                    </a:cubicBezTo>
                    <a:cubicBezTo>
                      <a:pt x="2824" y="1613"/>
                      <a:pt x="2824" y="1613"/>
                      <a:pt x="2824" y="1613"/>
                    </a:cubicBezTo>
                    <a:cubicBezTo>
                      <a:pt x="2734" y="1613"/>
                      <a:pt x="2661" y="1677"/>
                      <a:pt x="2661" y="1755"/>
                    </a:cubicBezTo>
                    <a:cubicBezTo>
                      <a:pt x="2661" y="1786"/>
                      <a:pt x="2672" y="1815"/>
                      <a:pt x="2693" y="1840"/>
                    </a:cubicBezTo>
                    <a:cubicBezTo>
                      <a:pt x="2693" y="1840"/>
                      <a:pt x="2719" y="1871"/>
                      <a:pt x="2720" y="1871"/>
                    </a:cubicBezTo>
                    <a:cubicBezTo>
                      <a:pt x="2996" y="2208"/>
                      <a:pt x="2996" y="2208"/>
                      <a:pt x="2996" y="2208"/>
                    </a:cubicBezTo>
                    <a:cubicBezTo>
                      <a:pt x="2996" y="2208"/>
                      <a:pt x="3004" y="2219"/>
                      <a:pt x="3004" y="2219"/>
                    </a:cubicBezTo>
                    <a:cubicBezTo>
                      <a:pt x="3004" y="2219"/>
                      <a:pt x="3004" y="2219"/>
                      <a:pt x="3004" y="2219"/>
                    </a:cubicBezTo>
                    <a:cubicBezTo>
                      <a:pt x="3078" y="2316"/>
                      <a:pt x="3097" y="2441"/>
                      <a:pt x="3057" y="2573"/>
                    </a:cubicBezTo>
                  </a:path>
                </a:pathLst>
              </a:custGeom>
              <a:solidFill>
                <a:srgbClr val="00345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pic>
          <p:nvPicPr>
            <p:cNvPr id="10" name="Billede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9272" y="6568332"/>
              <a:ext cx="2408400" cy="73832"/>
            </a:xfrm>
            <a:prstGeom prst="rect">
              <a:avLst/>
            </a:prstGeom>
          </p:spPr>
        </p:pic>
      </p:grp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70400" y="234630"/>
            <a:ext cx="10939200" cy="727200"/>
          </a:xfrm>
        </p:spPr>
        <p:txBody>
          <a:bodyPr>
            <a:normAutofit/>
          </a:bodyPr>
          <a:lstStyle>
            <a:lvl1pPr>
              <a:defRPr sz="2400" b="1" i="0">
                <a:solidFill>
                  <a:schemeClr val="bg1"/>
                </a:solidFill>
                <a:latin typeface="Arial fed" charset="0"/>
                <a:ea typeface="Arial fed" charset="0"/>
                <a:cs typeface="Arial fed" charset="0"/>
              </a:defRPr>
            </a:lvl1pPr>
          </a:lstStyle>
          <a:p>
            <a:r>
              <a:rPr lang="da-DK" noProof="0" dirty="0"/>
              <a:t>KLIK FOR AT REDIGERE I MAST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407271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upper 51"/>
          <p:cNvGrpSpPr/>
          <p:nvPr userDrawn="1"/>
        </p:nvGrpSpPr>
        <p:grpSpPr>
          <a:xfrm>
            <a:off x="0" y="0"/>
            <a:ext cx="12193200" cy="6858000"/>
            <a:chOff x="0" y="0"/>
            <a:chExt cx="12193200" cy="6858000"/>
          </a:xfrm>
        </p:grpSpPr>
        <p:grpSp>
          <p:nvGrpSpPr>
            <p:cNvPr id="53" name="Grupper 52"/>
            <p:cNvGrpSpPr/>
            <p:nvPr userDrawn="1"/>
          </p:nvGrpSpPr>
          <p:grpSpPr>
            <a:xfrm>
              <a:off x="0" y="0"/>
              <a:ext cx="12193200" cy="6858000"/>
              <a:chOff x="0" y="0"/>
              <a:chExt cx="12193200" cy="6858000"/>
            </a:xfrm>
          </p:grpSpPr>
          <p:sp>
            <p:nvSpPr>
              <p:cNvPr id="87" name="Rektangel 86"/>
              <p:cNvSpPr/>
              <p:nvPr userDrawn="1"/>
            </p:nvSpPr>
            <p:spPr>
              <a:xfrm>
                <a:off x="0" y="0"/>
                <a:ext cx="12193200" cy="6858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88" name="Rektangel 8"/>
              <p:cNvSpPr/>
              <p:nvPr userDrawn="1"/>
            </p:nvSpPr>
            <p:spPr>
              <a:xfrm>
                <a:off x="0" y="0"/>
                <a:ext cx="11699937" cy="6506012"/>
              </a:xfrm>
              <a:custGeom>
                <a:avLst/>
                <a:gdLst>
                  <a:gd name="connsiteX0" fmla="*/ 0 w 3526897"/>
                  <a:gd name="connsiteY0" fmla="*/ 0 h 3224463"/>
                  <a:gd name="connsiteX1" fmla="*/ 3526897 w 3526897"/>
                  <a:gd name="connsiteY1" fmla="*/ 0 h 3224463"/>
                  <a:gd name="connsiteX2" fmla="*/ 3526897 w 3526897"/>
                  <a:gd name="connsiteY2" fmla="*/ 3224463 h 3224463"/>
                  <a:gd name="connsiteX3" fmla="*/ 0 w 3526897"/>
                  <a:gd name="connsiteY3" fmla="*/ 3224463 h 3224463"/>
                  <a:gd name="connsiteX4" fmla="*/ 0 w 3526897"/>
                  <a:gd name="connsiteY4" fmla="*/ 0 h 3224463"/>
                  <a:gd name="connsiteX0" fmla="*/ 0 w 17114560"/>
                  <a:gd name="connsiteY0" fmla="*/ 0 h 5149516"/>
                  <a:gd name="connsiteX1" fmla="*/ 17114560 w 17114560"/>
                  <a:gd name="connsiteY1" fmla="*/ 1925053 h 5149516"/>
                  <a:gd name="connsiteX2" fmla="*/ 17114560 w 17114560"/>
                  <a:gd name="connsiteY2" fmla="*/ 5149516 h 5149516"/>
                  <a:gd name="connsiteX3" fmla="*/ 13587663 w 17114560"/>
                  <a:gd name="connsiteY3" fmla="*/ 5149516 h 5149516"/>
                  <a:gd name="connsiteX4" fmla="*/ 0 w 17114560"/>
                  <a:gd name="connsiteY4" fmla="*/ 0 h 5149516"/>
                  <a:gd name="connsiteX0" fmla="*/ 0 w 17114560"/>
                  <a:gd name="connsiteY0" fmla="*/ 16042 h 5165558"/>
                  <a:gd name="connsiteX1" fmla="*/ 13456960 w 17114560"/>
                  <a:gd name="connsiteY1" fmla="*/ 0 h 5165558"/>
                  <a:gd name="connsiteX2" fmla="*/ 17114560 w 17114560"/>
                  <a:gd name="connsiteY2" fmla="*/ 5165558 h 5165558"/>
                  <a:gd name="connsiteX3" fmla="*/ 13587663 w 17114560"/>
                  <a:gd name="connsiteY3" fmla="*/ 5165558 h 5165558"/>
                  <a:gd name="connsiteX4" fmla="*/ 0 w 17114560"/>
                  <a:gd name="connsiteY4" fmla="*/ 16042 h 5165558"/>
                  <a:gd name="connsiteX0" fmla="*/ 0 w 17114560"/>
                  <a:gd name="connsiteY0" fmla="*/ 16042 h 5165558"/>
                  <a:gd name="connsiteX1" fmla="*/ 13456960 w 17114560"/>
                  <a:gd name="connsiteY1" fmla="*/ 0 h 5165558"/>
                  <a:gd name="connsiteX2" fmla="*/ 17114560 w 17114560"/>
                  <a:gd name="connsiteY2" fmla="*/ 5165558 h 5165558"/>
                  <a:gd name="connsiteX3" fmla="*/ 80211 w 17114560"/>
                  <a:gd name="connsiteY3" fmla="*/ 1764632 h 5165558"/>
                  <a:gd name="connsiteX4" fmla="*/ 0 w 17114560"/>
                  <a:gd name="connsiteY4" fmla="*/ 16042 h 5165558"/>
                  <a:gd name="connsiteX0" fmla="*/ 32084 w 17146644"/>
                  <a:gd name="connsiteY0" fmla="*/ 16042 h 5165558"/>
                  <a:gd name="connsiteX1" fmla="*/ 13489044 w 17146644"/>
                  <a:gd name="connsiteY1" fmla="*/ 0 h 5165558"/>
                  <a:gd name="connsiteX2" fmla="*/ 17146644 w 17146644"/>
                  <a:gd name="connsiteY2" fmla="*/ 5165558 h 5165558"/>
                  <a:gd name="connsiteX3" fmla="*/ 0 w 17146644"/>
                  <a:gd name="connsiteY3" fmla="*/ 1812758 h 5165558"/>
                  <a:gd name="connsiteX4" fmla="*/ 32084 w 17146644"/>
                  <a:gd name="connsiteY4" fmla="*/ 16042 h 5165558"/>
                  <a:gd name="connsiteX0" fmla="*/ 0 w 17114560"/>
                  <a:gd name="connsiteY0" fmla="*/ 16042 h 5165558"/>
                  <a:gd name="connsiteX1" fmla="*/ 13456960 w 17114560"/>
                  <a:gd name="connsiteY1" fmla="*/ 0 h 5165558"/>
                  <a:gd name="connsiteX2" fmla="*/ 17114560 w 17114560"/>
                  <a:gd name="connsiteY2" fmla="*/ 5165558 h 5165558"/>
                  <a:gd name="connsiteX3" fmla="*/ 32084 w 17114560"/>
                  <a:gd name="connsiteY3" fmla="*/ 1812758 h 5165558"/>
                  <a:gd name="connsiteX4" fmla="*/ 0 w 17114560"/>
                  <a:gd name="connsiteY4" fmla="*/ 16042 h 5165558"/>
                  <a:gd name="connsiteX0" fmla="*/ 0 w 17114560"/>
                  <a:gd name="connsiteY0" fmla="*/ 0 h 5149516"/>
                  <a:gd name="connsiteX1" fmla="*/ 13513787 w 17114560"/>
                  <a:gd name="connsiteY1" fmla="*/ 25287 h 5149516"/>
                  <a:gd name="connsiteX2" fmla="*/ 17114560 w 17114560"/>
                  <a:gd name="connsiteY2" fmla="*/ 5149516 h 5149516"/>
                  <a:gd name="connsiteX3" fmla="*/ 32084 w 17114560"/>
                  <a:gd name="connsiteY3" fmla="*/ 1796716 h 5149516"/>
                  <a:gd name="connsiteX4" fmla="*/ 0 w 17114560"/>
                  <a:gd name="connsiteY4" fmla="*/ 0 h 5149516"/>
                  <a:gd name="connsiteX0" fmla="*/ 0 w 17114560"/>
                  <a:gd name="connsiteY0" fmla="*/ 5710 h 5155226"/>
                  <a:gd name="connsiteX1" fmla="*/ 13493122 w 17114560"/>
                  <a:gd name="connsiteY1" fmla="*/ 0 h 5155226"/>
                  <a:gd name="connsiteX2" fmla="*/ 17114560 w 17114560"/>
                  <a:gd name="connsiteY2" fmla="*/ 5155226 h 5155226"/>
                  <a:gd name="connsiteX3" fmla="*/ 32084 w 17114560"/>
                  <a:gd name="connsiteY3" fmla="*/ 1802426 h 5155226"/>
                  <a:gd name="connsiteX4" fmla="*/ 0 w 17114560"/>
                  <a:gd name="connsiteY4" fmla="*/ 5710 h 5155226"/>
                  <a:gd name="connsiteX0" fmla="*/ 0 w 17140439"/>
                  <a:gd name="connsiteY0" fmla="*/ 5710 h 5017203"/>
                  <a:gd name="connsiteX1" fmla="*/ 13493122 w 17140439"/>
                  <a:gd name="connsiteY1" fmla="*/ 0 h 5017203"/>
                  <a:gd name="connsiteX2" fmla="*/ 17140439 w 17140439"/>
                  <a:gd name="connsiteY2" fmla="*/ 5017203 h 5017203"/>
                  <a:gd name="connsiteX3" fmla="*/ 32084 w 17140439"/>
                  <a:gd name="connsiteY3" fmla="*/ 1802426 h 5017203"/>
                  <a:gd name="connsiteX4" fmla="*/ 0 w 17140439"/>
                  <a:gd name="connsiteY4" fmla="*/ 5710 h 5017203"/>
                  <a:gd name="connsiteX0" fmla="*/ 0 w 17084368"/>
                  <a:gd name="connsiteY0" fmla="*/ 5710 h 5137973"/>
                  <a:gd name="connsiteX1" fmla="*/ 13493122 w 17084368"/>
                  <a:gd name="connsiteY1" fmla="*/ 0 h 5137973"/>
                  <a:gd name="connsiteX2" fmla="*/ 17084368 w 17084368"/>
                  <a:gd name="connsiteY2" fmla="*/ 5137973 h 5137973"/>
                  <a:gd name="connsiteX3" fmla="*/ 32084 w 17084368"/>
                  <a:gd name="connsiteY3" fmla="*/ 1802426 h 5137973"/>
                  <a:gd name="connsiteX4" fmla="*/ 0 w 17084368"/>
                  <a:gd name="connsiteY4" fmla="*/ 5710 h 5137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84368" h="5137973">
                    <a:moveTo>
                      <a:pt x="0" y="5710"/>
                    </a:moveTo>
                    <a:lnTo>
                      <a:pt x="13493122" y="0"/>
                    </a:lnTo>
                    <a:lnTo>
                      <a:pt x="17084368" y="5137973"/>
                    </a:lnTo>
                    <a:lnTo>
                      <a:pt x="32084" y="1802426"/>
                    </a:lnTo>
                    <a:lnTo>
                      <a:pt x="0" y="5710"/>
                    </a:lnTo>
                    <a:close/>
                  </a:path>
                </a:pathLst>
              </a:custGeom>
              <a:solidFill>
                <a:srgbClr val="003C6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89" name="Normal pentagon 2"/>
              <p:cNvSpPr/>
              <p:nvPr userDrawn="1"/>
            </p:nvSpPr>
            <p:spPr>
              <a:xfrm>
                <a:off x="0" y="0"/>
                <a:ext cx="11726400" cy="6507107"/>
              </a:xfrm>
              <a:custGeom>
                <a:avLst/>
                <a:gdLst>
                  <a:gd name="connsiteX0" fmla="*/ 3 w 2791327"/>
                  <a:gd name="connsiteY0" fmla="*/ 998156 h 2613212"/>
                  <a:gd name="connsiteX1" fmla="*/ 1395664 w 2791327"/>
                  <a:gd name="connsiteY1" fmla="*/ 0 h 2613212"/>
                  <a:gd name="connsiteX2" fmla="*/ 2791324 w 2791327"/>
                  <a:gd name="connsiteY2" fmla="*/ 998156 h 2613212"/>
                  <a:gd name="connsiteX3" fmla="*/ 2258229 w 2791327"/>
                  <a:gd name="connsiteY3" fmla="*/ 2613205 h 2613212"/>
                  <a:gd name="connsiteX4" fmla="*/ 533098 w 2791327"/>
                  <a:gd name="connsiteY4" fmla="*/ 2613205 h 2613212"/>
                  <a:gd name="connsiteX5" fmla="*/ 3 w 2791327"/>
                  <a:gd name="connsiteY5" fmla="*/ 998156 h 2613212"/>
                  <a:gd name="connsiteX0" fmla="*/ 0 w 17550058"/>
                  <a:gd name="connsiteY0" fmla="*/ 869819 h 2613205"/>
                  <a:gd name="connsiteX1" fmla="*/ 16154398 w 17550058"/>
                  <a:gd name="connsiteY1" fmla="*/ 0 h 2613205"/>
                  <a:gd name="connsiteX2" fmla="*/ 17550058 w 17550058"/>
                  <a:gd name="connsiteY2" fmla="*/ 998156 h 2613205"/>
                  <a:gd name="connsiteX3" fmla="*/ 17016963 w 17550058"/>
                  <a:gd name="connsiteY3" fmla="*/ 2613205 h 2613205"/>
                  <a:gd name="connsiteX4" fmla="*/ 15291832 w 17550058"/>
                  <a:gd name="connsiteY4" fmla="*/ 2613205 h 2613205"/>
                  <a:gd name="connsiteX5" fmla="*/ 0 w 17550058"/>
                  <a:gd name="connsiteY5" fmla="*/ 869819 h 2613205"/>
                  <a:gd name="connsiteX0" fmla="*/ 0 w 17550058"/>
                  <a:gd name="connsiteY0" fmla="*/ 3388430 h 5131816"/>
                  <a:gd name="connsiteX1" fmla="*/ 48124 w 17550058"/>
                  <a:gd name="connsiteY1" fmla="*/ 0 h 5131816"/>
                  <a:gd name="connsiteX2" fmla="*/ 17550058 w 17550058"/>
                  <a:gd name="connsiteY2" fmla="*/ 3516767 h 5131816"/>
                  <a:gd name="connsiteX3" fmla="*/ 17016963 w 17550058"/>
                  <a:gd name="connsiteY3" fmla="*/ 5131816 h 5131816"/>
                  <a:gd name="connsiteX4" fmla="*/ 15291832 w 17550058"/>
                  <a:gd name="connsiteY4" fmla="*/ 5131816 h 5131816"/>
                  <a:gd name="connsiteX5" fmla="*/ 0 w 17550058"/>
                  <a:gd name="connsiteY5" fmla="*/ 3388430 h 5131816"/>
                  <a:gd name="connsiteX0" fmla="*/ 0 w 17550058"/>
                  <a:gd name="connsiteY0" fmla="*/ 3388430 h 5147858"/>
                  <a:gd name="connsiteX1" fmla="*/ 48124 w 17550058"/>
                  <a:gd name="connsiteY1" fmla="*/ 0 h 5147858"/>
                  <a:gd name="connsiteX2" fmla="*/ 17550058 w 17550058"/>
                  <a:gd name="connsiteY2" fmla="*/ 3516767 h 5147858"/>
                  <a:gd name="connsiteX3" fmla="*/ 17145301 w 17550058"/>
                  <a:gd name="connsiteY3" fmla="*/ 5147858 h 5147858"/>
                  <a:gd name="connsiteX4" fmla="*/ 15291832 w 17550058"/>
                  <a:gd name="connsiteY4" fmla="*/ 5131816 h 5147858"/>
                  <a:gd name="connsiteX5" fmla="*/ 0 w 17550058"/>
                  <a:gd name="connsiteY5" fmla="*/ 3388430 h 5147858"/>
                  <a:gd name="connsiteX0" fmla="*/ 0 w 17145301"/>
                  <a:gd name="connsiteY0" fmla="*/ 3400926 h 5160354"/>
                  <a:gd name="connsiteX1" fmla="*/ 48124 w 17145301"/>
                  <a:gd name="connsiteY1" fmla="*/ 12496 h 5160354"/>
                  <a:gd name="connsiteX2" fmla="*/ 8486268 w 17145301"/>
                  <a:gd name="connsiteY2" fmla="*/ 0 h 5160354"/>
                  <a:gd name="connsiteX3" fmla="*/ 17145301 w 17145301"/>
                  <a:gd name="connsiteY3" fmla="*/ 5160354 h 5160354"/>
                  <a:gd name="connsiteX4" fmla="*/ 15291832 w 17145301"/>
                  <a:gd name="connsiteY4" fmla="*/ 5144312 h 5160354"/>
                  <a:gd name="connsiteX5" fmla="*/ 0 w 17145301"/>
                  <a:gd name="connsiteY5" fmla="*/ 3400926 h 5160354"/>
                  <a:gd name="connsiteX0" fmla="*/ 0 w 17145301"/>
                  <a:gd name="connsiteY0" fmla="*/ 3416968 h 5176396"/>
                  <a:gd name="connsiteX1" fmla="*/ 48124 w 17145301"/>
                  <a:gd name="connsiteY1" fmla="*/ 28538 h 5176396"/>
                  <a:gd name="connsiteX2" fmla="*/ 6416837 w 17145301"/>
                  <a:gd name="connsiteY2" fmla="*/ 0 h 5176396"/>
                  <a:gd name="connsiteX3" fmla="*/ 17145301 w 17145301"/>
                  <a:gd name="connsiteY3" fmla="*/ 5176396 h 5176396"/>
                  <a:gd name="connsiteX4" fmla="*/ 15291832 w 17145301"/>
                  <a:gd name="connsiteY4" fmla="*/ 5160354 h 5176396"/>
                  <a:gd name="connsiteX5" fmla="*/ 0 w 17145301"/>
                  <a:gd name="connsiteY5" fmla="*/ 3416968 h 5176396"/>
                  <a:gd name="connsiteX0" fmla="*/ 0 w 17145301"/>
                  <a:gd name="connsiteY0" fmla="*/ 3416968 h 5191351"/>
                  <a:gd name="connsiteX1" fmla="*/ 48124 w 17145301"/>
                  <a:gd name="connsiteY1" fmla="*/ 28538 h 5191351"/>
                  <a:gd name="connsiteX2" fmla="*/ 6416837 w 17145301"/>
                  <a:gd name="connsiteY2" fmla="*/ 0 h 5191351"/>
                  <a:gd name="connsiteX3" fmla="*/ 17145301 w 17145301"/>
                  <a:gd name="connsiteY3" fmla="*/ 5176396 h 5191351"/>
                  <a:gd name="connsiteX4" fmla="*/ 15002530 w 17145301"/>
                  <a:gd name="connsiteY4" fmla="*/ 5191351 h 5191351"/>
                  <a:gd name="connsiteX5" fmla="*/ 0 w 17145301"/>
                  <a:gd name="connsiteY5" fmla="*/ 3416968 h 5191351"/>
                  <a:gd name="connsiteX0" fmla="*/ 0 w 17145301"/>
                  <a:gd name="connsiteY0" fmla="*/ 3416968 h 5176396"/>
                  <a:gd name="connsiteX1" fmla="*/ 48124 w 17145301"/>
                  <a:gd name="connsiteY1" fmla="*/ 28538 h 5176396"/>
                  <a:gd name="connsiteX2" fmla="*/ 6416837 w 17145301"/>
                  <a:gd name="connsiteY2" fmla="*/ 0 h 5176396"/>
                  <a:gd name="connsiteX3" fmla="*/ 17145301 w 17145301"/>
                  <a:gd name="connsiteY3" fmla="*/ 5176396 h 5176396"/>
                  <a:gd name="connsiteX4" fmla="*/ 14966367 w 17145301"/>
                  <a:gd name="connsiteY4" fmla="*/ 5150022 h 5176396"/>
                  <a:gd name="connsiteX5" fmla="*/ 0 w 17145301"/>
                  <a:gd name="connsiteY5" fmla="*/ 3416968 h 5176396"/>
                  <a:gd name="connsiteX0" fmla="*/ 0 w 17119470"/>
                  <a:gd name="connsiteY0" fmla="*/ 3406636 h 5176396"/>
                  <a:gd name="connsiteX1" fmla="*/ 22293 w 17119470"/>
                  <a:gd name="connsiteY1" fmla="*/ 28538 h 5176396"/>
                  <a:gd name="connsiteX2" fmla="*/ 6391006 w 17119470"/>
                  <a:gd name="connsiteY2" fmla="*/ 0 h 5176396"/>
                  <a:gd name="connsiteX3" fmla="*/ 17119470 w 17119470"/>
                  <a:gd name="connsiteY3" fmla="*/ 5176396 h 5176396"/>
                  <a:gd name="connsiteX4" fmla="*/ 14940536 w 17119470"/>
                  <a:gd name="connsiteY4" fmla="*/ 5150022 h 5176396"/>
                  <a:gd name="connsiteX5" fmla="*/ 0 w 17119470"/>
                  <a:gd name="connsiteY5" fmla="*/ 3406636 h 5176396"/>
                  <a:gd name="connsiteX0" fmla="*/ 3538 w 17123008"/>
                  <a:gd name="connsiteY0" fmla="*/ 3406636 h 5176396"/>
                  <a:gd name="connsiteX1" fmla="*/ 0 w 17123008"/>
                  <a:gd name="connsiteY1" fmla="*/ 18206 h 5176396"/>
                  <a:gd name="connsiteX2" fmla="*/ 6394544 w 17123008"/>
                  <a:gd name="connsiteY2" fmla="*/ 0 h 5176396"/>
                  <a:gd name="connsiteX3" fmla="*/ 17123008 w 17123008"/>
                  <a:gd name="connsiteY3" fmla="*/ 5176396 h 5176396"/>
                  <a:gd name="connsiteX4" fmla="*/ 14944074 w 17123008"/>
                  <a:gd name="connsiteY4" fmla="*/ 5150022 h 5176396"/>
                  <a:gd name="connsiteX5" fmla="*/ 3538 w 17123008"/>
                  <a:gd name="connsiteY5" fmla="*/ 3406636 h 5176396"/>
                  <a:gd name="connsiteX0" fmla="*/ 3538 w 17123008"/>
                  <a:gd name="connsiteY0" fmla="*/ 3391138 h 5160898"/>
                  <a:gd name="connsiteX1" fmla="*/ 0 w 17123008"/>
                  <a:gd name="connsiteY1" fmla="*/ 2708 h 5160898"/>
                  <a:gd name="connsiteX2" fmla="*/ 6399710 w 17123008"/>
                  <a:gd name="connsiteY2" fmla="*/ 0 h 5160898"/>
                  <a:gd name="connsiteX3" fmla="*/ 17123008 w 17123008"/>
                  <a:gd name="connsiteY3" fmla="*/ 5160898 h 5160898"/>
                  <a:gd name="connsiteX4" fmla="*/ 14944074 w 17123008"/>
                  <a:gd name="connsiteY4" fmla="*/ 5134524 h 5160898"/>
                  <a:gd name="connsiteX5" fmla="*/ 3538 w 17123008"/>
                  <a:gd name="connsiteY5" fmla="*/ 3391138 h 5160898"/>
                  <a:gd name="connsiteX0" fmla="*/ 3538 w 17123008"/>
                  <a:gd name="connsiteY0" fmla="*/ 3391138 h 5160898"/>
                  <a:gd name="connsiteX1" fmla="*/ 0 w 17123008"/>
                  <a:gd name="connsiteY1" fmla="*/ 2708 h 5160898"/>
                  <a:gd name="connsiteX2" fmla="*/ 6399710 w 17123008"/>
                  <a:gd name="connsiteY2" fmla="*/ 0 h 5160898"/>
                  <a:gd name="connsiteX3" fmla="*/ 17123008 w 17123008"/>
                  <a:gd name="connsiteY3" fmla="*/ 5160898 h 5160898"/>
                  <a:gd name="connsiteX4" fmla="*/ 14978580 w 17123008"/>
                  <a:gd name="connsiteY4" fmla="*/ 5091392 h 5160898"/>
                  <a:gd name="connsiteX5" fmla="*/ 3538 w 17123008"/>
                  <a:gd name="connsiteY5" fmla="*/ 3391138 h 5160898"/>
                  <a:gd name="connsiteX0" fmla="*/ 3538 w 17123008"/>
                  <a:gd name="connsiteY0" fmla="*/ 3391138 h 5160898"/>
                  <a:gd name="connsiteX1" fmla="*/ 0 w 17123008"/>
                  <a:gd name="connsiteY1" fmla="*/ 2708 h 5160898"/>
                  <a:gd name="connsiteX2" fmla="*/ 6399710 w 17123008"/>
                  <a:gd name="connsiteY2" fmla="*/ 0 h 5160898"/>
                  <a:gd name="connsiteX3" fmla="*/ 17123008 w 17123008"/>
                  <a:gd name="connsiteY3" fmla="*/ 5160898 h 5160898"/>
                  <a:gd name="connsiteX4" fmla="*/ 15034652 w 17123008"/>
                  <a:gd name="connsiteY4" fmla="*/ 5138838 h 5160898"/>
                  <a:gd name="connsiteX5" fmla="*/ 3538 w 17123008"/>
                  <a:gd name="connsiteY5" fmla="*/ 3391138 h 5160898"/>
                  <a:gd name="connsiteX0" fmla="*/ 3538 w 17101442"/>
                  <a:gd name="connsiteY0" fmla="*/ 3391138 h 5138838"/>
                  <a:gd name="connsiteX1" fmla="*/ 0 w 17101442"/>
                  <a:gd name="connsiteY1" fmla="*/ 2708 h 5138838"/>
                  <a:gd name="connsiteX2" fmla="*/ 6399710 w 17101442"/>
                  <a:gd name="connsiteY2" fmla="*/ 0 h 5138838"/>
                  <a:gd name="connsiteX3" fmla="*/ 17101442 w 17101442"/>
                  <a:gd name="connsiteY3" fmla="*/ 5044441 h 5138838"/>
                  <a:gd name="connsiteX4" fmla="*/ 15034652 w 17101442"/>
                  <a:gd name="connsiteY4" fmla="*/ 5138838 h 5138838"/>
                  <a:gd name="connsiteX5" fmla="*/ 3538 w 17101442"/>
                  <a:gd name="connsiteY5" fmla="*/ 3391138 h 5138838"/>
                  <a:gd name="connsiteX0" fmla="*/ 3538 w 17123008"/>
                  <a:gd name="connsiteY0" fmla="*/ 3391138 h 5138838"/>
                  <a:gd name="connsiteX1" fmla="*/ 0 w 17123008"/>
                  <a:gd name="connsiteY1" fmla="*/ 2708 h 5138838"/>
                  <a:gd name="connsiteX2" fmla="*/ 6399710 w 17123008"/>
                  <a:gd name="connsiteY2" fmla="*/ 0 h 5138838"/>
                  <a:gd name="connsiteX3" fmla="*/ 17123008 w 17123008"/>
                  <a:gd name="connsiteY3" fmla="*/ 5135018 h 5138838"/>
                  <a:gd name="connsiteX4" fmla="*/ 15034652 w 17123008"/>
                  <a:gd name="connsiteY4" fmla="*/ 5138838 h 5138838"/>
                  <a:gd name="connsiteX5" fmla="*/ 3538 w 17123008"/>
                  <a:gd name="connsiteY5" fmla="*/ 3391138 h 5138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123008" h="5138838">
                    <a:moveTo>
                      <a:pt x="3538" y="3391138"/>
                    </a:moveTo>
                    <a:cubicBezTo>
                      <a:pt x="2359" y="2261661"/>
                      <a:pt x="1179" y="1132185"/>
                      <a:pt x="0" y="2708"/>
                    </a:cubicBezTo>
                    <a:lnTo>
                      <a:pt x="6399710" y="0"/>
                    </a:lnTo>
                    <a:lnTo>
                      <a:pt x="17123008" y="5135018"/>
                    </a:lnTo>
                    <a:lnTo>
                      <a:pt x="15034652" y="5138838"/>
                    </a:lnTo>
                    <a:lnTo>
                      <a:pt x="3538" y="3391138"/>
                    </a:lnTo>
                    <a:close/>
                  </a:path>
                </a:pathLst>
              </a:custGeom>
              <a:solidFill>
                <a:srgbClr val="134C7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54" name="Ellipse 4"/>
            <p:cNvSpPr/>
            <p:nvPr userDrawn="1"/>
          </p:nvSpPr>
          <p:spPr>
            <a:xfrm rot="1140488">
              <a:off x="10939097" y="5945096"/>
              <a:ext cx="979200" cy="720080"/>
            </a:xfrm>
            <a:prstGeom prst="ellipse">
              <a:avLst/>
            </a:prstGeom>
            <a:solidFill>
              <a:srgbClr val="0034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grpSp>
          <p:nvGrpSpPr>
            <p:cNvPr id="55" name="FooterShape"/>
            <p:cNvGrpSpPr/>
            <p:nvPr userDrawn="1"/>
          </p:nvGrpSpPr>
          <p:grpSpPr>
            <a:xfrm>
              <a:off x="0" y="5423231"/>
              <a:ext cx="12192000" cy="1434769"/>
              <a:chOff x="0" y="5423231"/>
              <a:chExt cx="12192000" cy="1434769"/>
            </a:xfrm>
          </p:grpSpPr>
          <p:grpSp>
            <p:nvGrpSpPr>
              <p:cNvPr id="56" name="Gruppe 3"/>
              <p:cNvGrpSpPr/>
              <p:nvPr/>
            </p:nvGrpSpPr>
            <p:grpSpPr>
              <a:xfrm>
                <a:off x="0" y="5423231"/>
                <a:ext cx="12192000" cy="1434769"/>
                <a:chOff x="0" y="5423231"/>
                <a:chExt cx="12192000" cy="1434769"/>
              </a:xfrm>
            </p:grpSpPr>
            <p:sp>
              <p:nvSpPr>
                <p:cNvPr id="85" name="Freeform 11"/>
                <p:cNvSpPr/>
                <p:nvPr/>
              </p:nvSpPr>
              <p:spPr bwMode="auto">
                <a:xfrm>
                  <a:off x="0" y="5423231"/>
                  <a:ext cx="12192000" cy="141277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38400" h="4469">
                      <a:moveTo>
                        <a:pt x="0" y="1047"/>
                      </a:moveTo>
                      <a:cubicBezTo>
                        <a:pt x="0" y="4469"/>
                        <a:pt x="0" y="4469"/>
                        <a:pt x="0" y="4469"/>
                      </a:cubicBezTo>
                      <a:cubicBezTo>
                        <a:pt x="38400" y="4469"/>
                        <a:pt x="38400" y="4469"/>
                        <a:pt x="38400" y="4469"/>
                      </a:cubicBezTo>
                      <a:cubicBezTo>
                        <a:pt x="38400" y="0"/>
                        <a:pt x="38400" y="0"/>
                        <a:pt x="38400" y="0"/>
                      </a:cubicBezTo>
                      <a:cubicBezTo>
                        <a:pt x="26118" y="3710"/>
                        <a:pt x="12821" y="3859"/>
                        <a:pt x="0" y="104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</p:sp>
            <p:sp>
              <p:nvSpPr>
                <p:cNvPr id="86" name="Freeform 11"/>
                <p:cNvSpPr/>
                <p:nvPr/>
              </p:nvSpPr>
              <p:spPr bwMode="auto">
                <a:xfrm>
                  <a:off x="0" y="5445224"/>
                  <a:ext cx="12192000" cy="141277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38400" h="4469">
                      <a:moveTo>
                        <a:pt x="0" y="1047"/>
                      </a:moveTo>
                      <a:cubicBezTo>
                        <a:pt x="0" y="4469"/>
                        <a:pt x="0" y="4469"/>
                        <a:pt x="0" y="4469"/>
                      </a:cubicBezTo>
                      <a:cubicBezTo>
                        <a:pt x="38400" y="4469"/>
                        <a:pt x="38400" y="4469"/>
                        <a:pt x="38400" y="4469"/>
                      </a:cubicBezTo>
                      <a:cubicBezTo>
                        <a:pt x="38400" y="0"/>
                        <a:pt x="38400" y="0"/>
                        <a:pt x="38400" y="0"/>
                      </a:cubicBezTo>
                      <a:cubicBezTo>
                        <a:pt x="26118" y="3710"/>
                        <a:pt x="12821" y="3859"/>
                        <a:pt x="0" y="1047"/>
                      </a:cubicBezTo>
                      <a:close/>
                    </a:path>
                  </a:pathLst>
                </a:custGeom>
                <a:solidFill>
                  <a:srgbClr val="003459"/>
                </a:solidFill>
                <a:ln>
                  <a:noFill/>
                </a:ln>
              </p:spPr>
            </p:sp>
          </p:grpSp>
          <p:grpSp>
            <p:nvGrpSpPr>
              <p:cNvPr id="57" name="Gruppe 22"/>
              <p:cNvGrpSpPr/>
              <p:nvPr/>
            </p:nvGrpSpPr>
            <p:grpSpPr>
              <a:xfrm>
                <a:off x="10981119" y="5913438"/>
                <a:ext cx="906463" cy="777875"/>
                <a:chOff x="10072688" y="5913438"/>
                <a:chExt cx="906463" cy="777875"/>
              </a:xfrm>
            </p:grpSpPr>
            <p:sp>
              <p:nvSpPr>
                <p:cNvPr id="83" name="Freeform 6"/>
                <p:cNvSpPr/>
                <p:nvPr/>
              </p:nvSpPr>
              <p:spPr bwMode="auto">
                <a:xfrm>
                  <a:off x="10072688" y="5913438"/>
                  <a:ext cx="906463" cy="777875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5935" h="5085">
                      <a:moveTo>
                        <a:pt x="4187" y="4681"/>
                      </a:moveTo>
                      <a:cubicBezTo>
                        <a:pt x="5454" y="4277"/>
                        <a:pt x="5935" y="2992"/>
                        <a:pt x="5262" y="1811"/>
                      </a:cubicBezTo>
                      <a:cubicBezTo>
                        <a:pt x="4589" y="630"/>
                        <a:pt x="3016" y="0"/>
                        <a:pt x="1749" y="403"/>
                      </a:cubicBezTo>
                      <a:cubicBezTo>
                        <a:pt x="482" y="807"/>
                        <a:pt x="0" y="2092"/>
                        <a:pt x="674" y="3274"/>
                      </a:cubicBezTo>
                      <a:cubicBezTo>
                        <a:pt x="1347" y="4455"/>
                        <a:pt x="2920" y="5085"/>
                        <a:pt x="4187" y="4681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84" name="Freeform 7"/>
                <p:cNvSpPr>
                  <a:spLocks noEditPoints="1"/>
                </p:cNvSpPr>
                <p:nvPr/>
              </p:nvSpPr>
              <p:spPr bwMode="auto">
                <a:xfrm>
                  <a:off x="10101263" y="5970588"/>
                  <a:ext cx="849313" cy="692150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5564" h="4525">
                      <a:moveTo>
                        <a:pt x="4933" y="1479"/>
                      </a:moveTo>
                      <a:cubicBezTo>
                        <a:pt x="4877" y="1381"/>
                        <a:pt x="4814" y="1287"/>
                        <a:pt x="4746" y="1198"/>
                      </a:cubicBezTo>
                      <a:cubicBezTo>
                        <a:pt x="4628" y="1587"/>
                        <a:pt x="4628" y="1587"/>
                        <a:pt x="4628" y="1587"/>
                      </a:cubicBezTo>
                      <a:cubicBezTo>
                        <a:pt x="4623" y="1603"/>
                        <a:pt x="4623" y="1603"/>
                        <a:pt x="4623" y="1603"/>
                      </a:cubicBezTo>
                      <a:cubicBezTo>
                        <a:pt x="4620" y="1613"/>
                        <a:pt x="4620" y="1613"/>
                        <a:pt x="4620" y="1613"/>
                      </a:cubicBezTo>
                      <a:cubicBezTo>
                        <a:pt x="4223" y="1613"/>
                        <a:pt x="4223" y="1613"/>
                        <a:pt x="4223" y="1613"/>
                      </a:cubicBezTo>
                      <a:cubicBezTo>
                        <a:pt x="4223" y="1613"/>
                        <a:pt x="4223" y="1613"/>
                        <a:pt x="4223" y="1613"/>
                      </a:cubicBezTo>
                      <a:cubicBezTo>
                        <a:pt x="4134" y="1613"/>
                        <a:pt x="4061" y="1677"/>
                        <a:pt x="4061" y="1755"/>
                      </a:cubicBezTo>
                      <a:cubicBezTo>
                        <a:pt x="4061" y="1786"/>
                        <a:pt x="4072" y="1815"/>
                        <a:pt x="4093" y="1840"/>
                      </a:cubicBezTo>
                      <a:cubicBezTo>
                        <a:pt x="4093" y="1840"/>
                        <a:pt x="4119" y="1871"/>
                        <a:pt x="4119" y="1871"/>
                      </a:cubicBezTo>
                      <a:cubicBezTo>
                        <a:pt x="4119" y="1871"/>
                        <a:pt x="4395" y="2208"/>
                        <a:pt x="4395" y="2208"/>
                      </a:cubicBezTo>
                      <a:cubicBezTo>
                        <a:pt x="4404" y="2219"/>
                        <a:pt x="4404" y="2219"/>
                        <a:pt x="4404" y="2219"/>
                      </a:cubicBezTo>
                      <a:cubicBezTo>
                        <a:pt x="4404" y="2219"/>
                        <a:pt x="4404" y="2219"/>
                        <a:pt x="4404" y="2219"/>
                      </a:cubicBezTo>
                      <a:cubicBezTo>
                        <a:pt x="4478" y="2316"/>
                        <a:pt x="4496" y="2441"/>
                        <a:pt x="4457" y="2573"/>
                      </a:cubicBezTo>
                      <a:cubicBezTo>
                        <a:pt x="4416" y="2706"/>
                        <a:pt x="4319" y="2832"/>
                        <a:pt x="4185" y="2926"/>
                      </a:cubicBezTo>
                      <a:cubicBezTo>
                        <a:pt x="4050" y="3020"/>
                        <a:pt x="3892" y="3071"/>
                        <a:pt x="3741" y="3071"/>
                      </a:cubicBezTo>
                      <a:cubicBezTo>
                        <a:pt x="3131" y="3071"/>
                        <a:pt x="3131" y="3071"/>
                        <a:pt x="3131" y="3071"/>
                      </a:cubicBezTo>
                      <a:cubicBezTo>
                        <a:pt x="3136" y="3055"/>
                        <a:pt x="3136" y="3055"/>
                        <a:pt x="3136" y="3055"/>
                      </a:cubicBezTo>
                      <a:cubicBezTo>
                        <a:pt x="3144" y="3028"/>
                        <a:pt x="3144" y="3028"/>
                        <a:pt x="3144" y="3028"/>
                      </a:cubicBezTo>
                      <a:cubicBezTo>
                        <a:pt x="3266" y="2628"/>
                        <a:pt x="3266" y="2628"/>
                        <a:pt x="3266" y="2628"/>
                      </a:cubicBezTo>
                      <a:cubicBezTo>
                        <a:pt x="3271" y="2611"/>
                        <a:pt x="3271" y="2611"/>
                        <a:pt x="3271" y="2611"/>
                      </a:cubicBezTo>
                      <a:cubicBezTo>
                        <a:pt x="3273" y="2603"/>
                        <a:pt x="3273" y="2603"/>
                        <a:pt x="3273" y="2603"/>
                      </a:cubicBezTo>
                      <a:cubicBezTo>
                        <a:pt x="3665" y="2603"/>
                        <a:pt x="3665" y="2603"/>
                        <a:pt x="3665" y="2603"/>
                      </a:cubicBezTo>
                      <a:cubicBezTo>
                        <a:pt x="3665" y="2603"/>
                        <a:pt x="3672" y="2603"/>
                        <a:pt x="3671" y="2603"/>
                      </a:cubicBezTo>
                      <a:cubicBezTo>
                        <a:pt x="3761" y="2603"/>
                        <a:pt x="3834" y="2539"/>
                        <a:pt x="3834" y="2461"/>
                      </a:cubicBezTo>
                      <a:cubicBezTo>
                        <a:pt x="3834" y="2430"/>
                        <a:pt x="3823" y="2401"/>
                        <a:pt x="3802" y="2376"/>
                      </a:cubicBezTo>
                      <a:cubicBezTo>
                        <a:pt x="3802" y="2376"/>
                        <a:pt x="3791" y="2363"/>
                        <a:pt x="3791" y="2363"/>
                      </a:cubicBezTo>
                      <a:cubicBezTo>
                        <a:pt x="3499" y="2007"/>
                        <a:pt x="3499" y="2007"/>
                        <a:pt x="3499" y="2007"/>
                      </a:cubicBezTo>
                      <a:cubicBezTo>
                        <a:pt x="3490" y="1996"/>
                        <a:pt x="3490" y="1996"/>
                        <a:pt x="3490" y="1996"/>
                      </a:cubicBezTo>
                      <a:cubicBezTo>
                        <a:pt x="3490" y="1995"/>
                        <a:pt x="3490" y="1995"/>
                        <a:pt x="3490" y="1995"/>
                      </a:cubicBezTo>
                      <a:cubicBezTo>
                        <a:pt x="3417" y="1899"/>
                        <a:pt x="3398" y="1774"/>
                        <a:pt x="3438" y="1642"/>
                      </a:cubicBezTo>
                      <a:cubicBezTo>
                        <a:pt x="3478" y="1509"/>
                        <a:pt x="3575" y="1383"/>
                        <a:pt x="3710" y="1289"/>
                      </a:cubicBezTo>
                      <a:cubicBezTo>
                        <a:pt x="3844" y="1195"/>
                        <a:pt x="4002" y="1143"/>
                        <a:pt x="4153" y="1143"/>
                      </a:cubicBezTo>
                      <a:cubicBezTo>
                        <a:pt x="4704" y="1143"/>
                        <a:pt x="4704" y="1143"/>
                        <a:pt x="4704" y="1143"/>
                      </a:cubicBezTo>
                      <a:cubicBezTo>
                        <a:pt x="4124" y="423"/>
                        <a:pt x="3164" y="0"/>
                        <a:pt x="2254" y="47"/>
                      </a:cubicBezTo>
                      <a:cubicBezTo>
                        <a:pt x="2112" y="516"/>
                        <a:pt x="2112" y="516"/>
                        <a:pt x="2112" y="516"/>
                      </a:cubicBezTo>
                      <a:cubicBezTo>
                        <a:pt x="2107" y="532"/>
                        <a:pt x="2107" y="532"/>
                        <a:pt x="2107" y="532"/>
                      </a:cubicBezTo>
                      <a:cubicBezTo>
                        <a:pt x="2104" y="541"/>
                        <a:pt x="2104" y="541"/>
                        <a:pt x="2104" y="541"/>
                      </a:cubicBezTo>
                      <a:cubicBezTo>
                        <a:pt x="1493" y="541"/>
                        <a:pt x="1493" y="541"/>
                        <a:pt x="1493" y="541"/>
                      </a:cubicBezTo>
                      <a:cubicBezTo>
                        <a:pt x="1498" y="525"/>
                        <a:pt x="1498" y="525"/>
                        <a:pt x="1498" y="525"/>
                      </a:cubicBezTo>
                      <a:cubicBezTo>
                        <a:pt x="1506" y="498"/>
                        <a:pt x="1506" y="498"/>
                        <a:pt x="1506" y="498"/>
                      </a:cubicBezTo>
                      <a:cubicBezTo>
                        <a:pt x="1606" y="168"/>
                        <a:pt x="1606" y="168"/>
                        <a:pt x="1606" y="168"/>
                      </a:cubicBezTo>
                      <a:cubicBezTo>
                        <a:pt x="440" y="558"/>
                        <a:pt x="0" y="1752"/>
                        <a:pt x="627" y="2852"/>
                      </a:cubicBezTo>
                      <a:cubicBezTo>
                        <a:pt x="660" y="2909"/>
                        <a:pt x="695" y="2966"/>
                        <a:pt x="733" y="3021"/>
                      </a:cubicBezTo>
                      <a:cubicBezTo>
                        <a:pt x="1294" y="1168"/>
                        <a:pt x="1294" y="1168"/>
                        <a:pt x="1294" y="1168"/>
                      </a:cubicBezTo>
                      <a:cubicBezTo>
                        <a:pt x="1299" y="1151"/>
                        <a:pt x="1299" y="1151"/>
                        <a:pt x="1299" y="1151"/>
                      </a:cubicBezTo>
                      <a:cubicBezTo>
                        <a:pt x="1302" y="1142"/>
                        <a:pt x="1302" y="1142"/>
                        <a:pt x="1302" y="1142"/>
                      </a:cubicBezTo>
                      <a:cubicBezTo>
                        <a:pt x="1913" y="1142"/>
                        <a:pt x="1913" y="1142"/>
                        <a:pt x="1913" y="1142"/>
                      </a:cubicBezTo>
                      <a:cubicBezTo>
                        <a:pt x="1908" y="1159"/>
                        <a:pt x="1908" y="1159"/>
                        <a:pt x="1908" y="1159"/>
                      </a:cubicBezTo>
                      <a:cubicBezTo>
                        <a:pt x="1900" y="1186"/>
                        <a:pt x="1900" y="1186"/>
                        <a:pt x="1900" y="1186"/>
                      </a:cubicBezTo>
                      <a:cubicBezTo>
                        <a:pt x="1335" y="3049"/>
                        <a:pt x="1335" y="3049"/>
                        <a:pt x="1335" y="3049"/>
                      </a:cubicBezTo>
                      <a:cubicBezTo>
                        <a:pt x="1330" y="3065"/>
                        <a:pt x="1330" y="3065"/>
                        <a:pt x="1330" y="3065"/>
                      </a:cubicBezTo>
                      <a:cubicBezTo>
                        <a:pt x="1328" y="3074"/>
                        <a:pt x="1328" y="3074"/>
                        <a:pt x="1328" y="3074"/>
                      </a:cubicBezTo>
                      <a:cubicBezTo>
                        <a:pt x="770" y="3074"/>
                        <a:pt x="770" y="3074"/>
                        <a:pt x="770" y="3074"/>
                      </a:cubicBezTo>
                      <a:cubicBezTo>
                        <a:pt x="1462" y="4037"/>
                        <a:pt x="2817" y="4525"/>
                        <a:pt x="3924" y="4172"/>
                      </a:cubicBezTo>
                      <a:cubicBezTo>
                        <a:pt x="5113" y="3793"/>
                        <a:pt x="5564" y="2587"/>
                        <a:pt x="4933" y="1479"/>
                      </a:cubicBezTo>
                      <a:moveTo>
                        <a:pt x="3057" y="2573"/>
                      </a:moveTo>
                      <a:cubicBezTo>
                        <a:pt x="3016" y="2706"/>
                        <a:pt x="2920" y="2832"/>
                        <a:pt x="2785" y="2926"/>
                      </a:cubicBezTo>
                      <a:cubicBezTo>
                        <a:pt x="2650" y="3020"/>
                        <a:pt x="2493" y="3071"/>
                        <a:pt x="2341" y="3071"/>
                      </a:cubicBezTo>
                      <a:cubicBezTo>
                        <a:pt x="1731" y="3071"/>
                        <a:pt x="1731" y="3071"/>
                        <a:pt x="1731" y="3071"/>
                      </a:cubicBezTo>
                      <a:cubicBezTo>
                        <a:pt x="1736" y="3055"/>
                        <a:pt x="1736" y="3055"/>
                        <a:pt x="1736" y="3055"/>
                      </a:cubicBezTo>
                      <a:cubicBezTo>
                        <a:pt x="1745" y="3028"/>
                        <a:pt x="1745" y="3028"/>
                        <a:pt x="1745" y="3028"/>
                      </a:cubicBezTo>
                      <a:cubicBezTo>
                        <a:pt x="1866" y="2628"/>
                        <a:pt x="1866" y="2628"/>
                        <a:pt x="1866" y="2628"/>
                      </a:cubicBezTo>
                      <a:cubicBezTo>
                        <a:pt x="1871" y="2611"/>
                        <a:pt x="1871" y="2611"/>
                        <a:pt x="1871" y="2611"/>
                      </a:cubicBezTo>
                      <a:cubicBezTo>
                        <a:pt x="1874" y="2603"/>
                        <a:pt x="1874" y="2603"/>
                        <a:pt x="1874" y="2603"/>
                      </a:cubicBezTo>
                      <a:cubicBezTo>
                        <a:pt x="2265" y="2603"/>
                        <a:pt x="2265" y="2603"/>
                        <a:pt x="2265" y="2603"/>
                      </a:cubicBezTo>
                      <a:cubicBezTo>
                        <a:pt x="2265" y="2603"/>
                        <a:pt x="2272" y="2603"/>
                        <a:pt x="2272" y="2603"/>
                      </a:cubicBezTo>
                      <a:cubicBezTo>
                        <a:pt x="2361" y="2603"/>
                        <a:pt x="2434" y="2539"/>
                        <a:pt x="2434" y="2461"/>
                      </a:cubicBezTo>
                      <a:cubicBezTo>
                        <a:pt x="2434" y="2430"/>
                        <a:pt x="2423" y="2401"/>
                        <a:pt x="2402" y="2376"/>
                      </a:cubicBezTo>
                      <a:cubicBezTo>
                        <a:pt x="2403" y="2376"/>
                        <a:pt x="2391" y="2363"/>
                        <a:pt x="2391" y="2363"/>
                      </a:cubicBezTo>
                      <a:cubicBezTo>
                        <a:pt x="2099" y="2007"/>
                        <a:pt x="2099" y="2007"/>
                        <a:pt x="2099" y="2007"/>
                      </a:cubicBezTo>
                      <a:cubicBezTo>
                        <a:pt x="2099" y="2007"/>
                        <a:pt x="2090" y="1995"/>
                        <a:pt x="2090" y="1995"/>
                      </a:cubicBezTo>
                      <a:cubicBezTo>
                        <a:pt x="2090" y="1995"/>
                        <a:pt x="2090" y="1995"/>
                        <a:pt x="2090" y="1995"/>
                      </a:cubicBezTo>
                      <a:cubicBezTo>
                        <a:pt x="2017" y="1898"/>
                        <a:pt x="1998" y="1774"/>
                        <a:pt x="2038" y="1642"/>
                      </a:cubicBezTo>
                      <a:cubicBezTo>
                        <a:pt x="2079" y="1509"/>
                        <a:pt x="2175" y="1383"/>
                        <a:pt x="2310" y="1289"/>
                      </a:cubicBezTo>
                      <a:cubicBezTo>
                        <a:pt x="2445" y="1195"/>
                        <a:pt x="2602" y="1143"/>
                        <a:pt x="2753" y="1143"/>
                      </a:cubicBezTo>
                      <a:cubicBezTo>
                        <a:pt x="3362" y="1143"/>
                        <a:pt x="3362" y="1143"/>
                        <a:pt x="3362" y="1143"/>
                      </a:cubicBezTo>
                      <a:cubicBezTo>
                        <a:pt x="3358" y="1160"/>
                        <a:pt x="3358" y="1160"/>
                        <a:pt x="3358" y="1160"/>
                      </a:cubicBezTo>
                      <a:cubicBezTo>
                        <a:pt x="3349" y="1187"/>
                        <a:pt x="3349" y="1187"/>
                        <a:pt x="3349" y="1187"/>
                      </a:cubicBezTo>
                      <a:cubicBezTo>
                        <a:pt x="3228" y="1587"/>
                        <a:pt x="3228" y="1587"/>
                        <a:pt x="3228" y="1587"/>
                      </a:cubicBezTo>
                      <a:cubicBezTo>
                        <a:pt x="3223" y="1603"/>
                        <a:pt x="3223" y="1603"/>
                        <a:pt x="3223" y="1603"/>
                      </a:cubicBezTo>
                      <a:cubicBezTo>
                        <a:pt x="3220" y="1613"/>
                        <a:pt x="3220" y="1613"/>
                        <a:pt x="3220" y="1613"/>
                      </a:cubicBezTo>
                      <a:cubicBezTo>
                        <a:pt x="2824" y="1613"/>
                        <a:pt x="2824" y="1613"/>
                        <a:pt x="2824" y="1613"/>
                      </a:cubicBezTo>
                      <a:cubicBezTo>
                        <a:pt x="2824" y="1613"/>
                        <a:pt x="2824" y="1613"/>
                        <a:pt x="2824" y="1613"/>
                      </a:cubicBezTo>
                      <a:cubicBezTo>
                        <a:pt x="2734" y="1613"/>
                        <a:pt x="2661" y="1677"/>
                        <a:pt x="2661" y="1755"/>
                      </a:cubicBezTo>
                      <a:cubicBezTo>
                        <a:pt x="2661" y="1786"/>
                        <a:pt x="2672" y="1815"/>
                        <a:pt x="2693" y="1840"/>
                      </a:cubicBezTo>
                      <a:cubicBezTo>
                        <a:pt x="2693" y="1840"/>
                        <a:pt x="2719" y="1871"/>
                        <a:pt x="2720" y="1871"/>
                      </a:cubicBezTo>
                      <a:cubicBezTo>
                        <a:pt x="2996" y="2208"/>
                        <a:pt x="2996" y="2208"/>
                        <a:pt x="2996" y="2208"/>
                      </a:cubicBezTo>
                      <a:cubicBezTo>
                        <a:pt x="2996" y="2208"/>
                        <a:pt x="3004" y="2219"/>
                        <a:pt x="3004" y="2219"/>
                      </a:cubicBezTo>
                      <a:cubicBezTo>
                        <a:pt x="3004" y="2219"/>
                        <a:pt x="3004" y="2219"/>
                        <a:pt x="3004" y="2219"/>
                      </a:cubicBezTo>
                      <a:cubicBezTo>
                        <a:pt x="3078" y="2316"/>
                        <a:pt x="3097" y="2441"/>
                        <a:pt x="3057" y="2573"/>
                      </a:cubicBezTo>
                    </a:path>
                  </a:pathLst>
                </a:custGeom>
                <a:solidFill>
                  <a:srgbClr val="003459"/>
                </a:solidFill>
                <a:ln>
                  <a:noFill/>
                </a:ln>
              </p:spPr>
            </p:sp>
          </p:grpSp>
          <p:grpSp>
            <p:nvGrpSpPr>
              <p:cNvPr id="58" name="Group 4"/>
              <p:cNvGrpSpPr>
                <a:grpSpLocks noChangeAspect="1"/>
              </p:cNvGrpSpPr>
              <p:nvPr/>
            </p:nvGrpSpPr>
            <p:grpSpPr bwMode="auto">
              <a:xfrm>
                <a:off x="367036" y="6566608"/>
                <a:ext cx="2408400" cy="74202"/>
                <a:chOff x="2600" y="2977"/>
                <a:chExt cx="1136" cy="35"/>
              </a:xfrm>
            </p:grpSpPr>
            <p:sp>
              <p:nvSpPr>
                <p:cNvPr id="59" name="AutoShape 3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2600" y="2977"/>
                  <a:ext cx="1136" cy="3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60" name="Freeform 5"/>
                <p:cNvSpPr/>
                <p:nvPr/>
              </p:nvSpPr>
              <p:spPr bwMode="auto">
                <a:xfrm>
                  <a:off x="3246" y="2977"/>
                  <a:ext cx="53" cy="35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572" h="1694">
                      <a:moveTo>
                        <a:pt x="2112" y="0"/>
                      </a:moveTo>
                      <a:cubicBezTo>
                        <a:pt x="2086" y="0"/>
                        <a:pt x="2063" y="17"/>
                        <a:pt x="2055" y="43"/>
                      </a:cubicBezTo>
                      <a:cubicBezTo>
                        <a:pt x="1881" y="613"/>
                        <a:pt x="1881" y="613"/>
                        <a:pt x="1881" y="613"/>
                      </a:cubicBezTo>
                      <a:cubicBezTo>
                        <a:pt x="834" y="613"/>
                        <a:pt x="834" y="613"/>
                        <a:pt x="834" y="613"/>
                      </a:cubicBezTo>
                      <a:cubicBezTo>
                        <a:pt x="998" y="77"/>
                        <a:pt x="998" y="77"/>
                        <a:pt x="998" y="77"/>
                      </a:cubicBezTo>
                      <a:cubicBezTo>
                        <a:pt x="1000" y="72"/>
                        <a:pt x="1001" y="66"/>
                        <a:pt x="1001" y="60"/>
                      </a:cubicBezTo>
                      <a:cubicBezTo>
                        <a:pt x="1001" y="48"/>
                        <a:pt x="997" y="34"/>
                        <a:pt x="989" y="24"/>
                      </a:cubicBezTo>
                      <a:cubicBezTo>
                        <a:pt x="977" y="9"/>
                        <a:pt x="960" y="0"/>
                        <a:pt x="941" y="0"/>
                      </a:cubicBezTo>
                      <a:cubicBezTo>
                        <a:pt x="544" y="0"/>
                        <a:pt x="544" y="0"/>
                        <a:pt x="544" y="0"/>
                      </a:cubicBezTo>
                      <a:cubicBezTo>
                        <a:pt x="517" y="0"/>
                        <a:pt x="494" y="17"/>
                        <a:pt x="487" y="43"/>
                      </a:cubicBezTo>
                      <a:cubicBezTo>
                        <a:pt x="6" y="1616"/>
                        <a:pt x="6" y="1616"/>
                        <a:pt x="6" y="1616"/>
                      </a:cubicBezTo>
                      <a:cubicBezTo>
                        <a:pt x="0" y="1634"/>
                        <a:pt x="3" y="1654"/>
                        <a:pt x="15" y="1669"/>
                      </a:cubicBezTo>
                      <a:cubicBezTo>
                        <a:pt x="26" y="1685"/>
                        <a:pt x="44" y="1694"/>
                        <a:pt x="63" y="1694"/>
                      </a:cubicBezTo>
                      <a:cubicBezTo>
                        <a:pt x="459" y="1694"/>
                        <a:pt x="459" y="1694"/>
                        <a:pt x="459" y="1694"/>
                      </a:cubicBezTo>
                      <a:cubicBezTo>
                        <a:pt x="486" y="1694"/>
                        <a:pt x="509" y="1677"/>
                        <a:pt x="517" y="1651"/>
                      </a:cubicBezTo>
                      <a:cubicBezTo>
                        <a:pt x="722" y="980"/>
                        <a:pt x="722" y="980"/>
                        <a:pt x="722" y="980"/>
                      </a:cubicBezTo>
                      <a:cubicBezTo>
                        <a:pt x="1768" y="980"/>
                        <a:pt x="1768" y="980"/>
                        <a:pt x="1768" y="980"/>
                      </a:cubicBezTo>
                      <a:cubicBezTo>
                        <a:pt x="1573" y="1616"/>
                        <a:pt x="1573" y="1616"/>
                        <a:pt x="1573" y="1616"/>
                      </a:cubicBezTo>
                      <a:cubicBezTo>
                        <a:pt x="1572" y="1622"/>
                        <a:pt x="1571" y="1627"/>
                        <a:pt x="1571" y="1634"/>
                      </a:cubicBezTo>
                      <a:cubicBezTo>
                        <a:pt x="1571" y="1646"/>
                        <a:pt x="1575" y="1659"/>
                        <a:pt x="1583" y="1669"/>
                      </a:cubicBezTo>
                      <a:cubicBezTo>
                        <a:pt x="1594" y="1685"/>
                        <a:pt x="1612" y="1694"/>
                        <a:pt x="1631" y="1694"/>
                      </a:cubicBezTo>
                      <a:cubicBezTo>
                        <a:pt x="2028" y="1694"/>
                        <a:pt x="2028" y="1694"/>
                        <a:pt x="2028" y="1694"/>
                      </a:cubicBezTo>
                      <a:cubicBezTo>
                        <a:pt x="2054" y="1694"/>
                        <a:pt x="2078" y="1677"/>
                        <a:pt x="2085" y="1651"/>
                      </a:cubicBezTo>
                      <a:cubicBezTo>
                        <a:pt x="2566" y="77"/>
                        <a:pt x="2566" y="77"/>
                        <a:pt x="2566" y="77"/>
                      </a:cubicBezTo>
                      <a:cubicBezTo>
                        <a:pt x="2572" y="59"/>
                        <a:pt x="2569" y="39"/>
                        <a:pt x="2557" y="24"/>
                      </a:cubicBezTo>
                      <a:cubicBezTo>
                        <a:pt x="2546" y="9"/>
                        <a:pt x="2528" y="0"/>
                        <a:pt x="2509" y="0"/>
                      </a:cubicBezTo>
                      <a:lnTo>
                        <a:pt x="211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61" name="Freeform 6"/>
                <p:cNvSpPr/>
                <p:nvPr/>
              </p:nvSpPr>
              <p:spPr bwMode="auto">
                <a:xfrm>
                  <a:off x="3338" y="2980"/>
                  <a:ext cx="56" cy="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760" h="1540">
                      <a:moveTo>
                        <a:pt x="2190" y="0"/>
                      </a:moveTo>
                      <a:cubicBezTo>
                        <a:pt x="2172" y="0"/>
                        <a:pt x="2156" y="8"/>
                        <a:pt x="2144" y="21"/>
                      </a:cubicBezTo>
                      <a:cubicBezTo>
                        <a:pt x="1296" y="1033"/>
                        <a:pt x="1296" y="1033"/>
                        <a:pt x="1296" y="1033"/>
                      </a:cubicBezTo>
                      <a:cubicBezTo>
                        <a:pt x="1065" y="46"/>
                        <a:pt x="1065" y="46"/>
                        <a:pt x="1065" y="46"/>
                      </a:cubicBezTo>
                      <a:cubicBezTo>
                        <a:pt x="1059" y="19"/>
                        <a:pt x="1035" y="0"/>
                        <a:pt x="1008" y="0"/>
                      </a:cubicBezTo>
                      <a:cubicBezTo>
                        <a:pt x="495" y="0"/>
                        <a:pt x="495" y="0"/>
                        <a:pt x="495" y="0"/>
                      </a:cubicBezTo>
                      <a:cubicBezTo>
                        <a:pt x="468" y="0"/>
                        <a:pt x="446" y="17"/>
                        <a:pt x="438" y="42"/>
                      </a:cubicBezTo>
                      <a:cubicBezTo>
                        <a:pt x="6" y="1463"/>
                        <a:pt x="6" y="1463"/>
                        <a:pt x="6" y="1463"/>
                      </a:cubicBezTo>
                      <a:cubicBezTo>
                        <a:pt x="0" y="1481"/>
                        <a:pt x="4" y="1500"/>
                        <a:pt x="15" y="1515"/>
                      </a:cubicBezTo>
                      <a:cubicBezTo>
                        <a:pt x="26" y="1531"/>
                        <a:pt x="44" y="1540"/>
                        <a:pt x="63" y="1540"/>
                      </a:cubicBezTo>
                      <a:cubicBezTo>
                        <a:pt x="397" y="1540"/>
                        <a:pt x="397" y="1540"/>
                        <a:pt x="397" y="1540"/>
                      </a:cubicBezTo>
                      <a:cubicBezTo>
                        <a:pt x="424" y="1540"/>
                        <a:pt x="447" y="1522"/>
                        <a:pt x="454" y="1497"/>
                      </a:cubicBezTo>
                      <a:cubicBezTo>
                        <a:pt x="735" y="534"/>
                        <a:pt x="735" y="534"/>
                        <a:pt x="735" y="534"/>
                      </a:cubicBezTo>
                      <a:cubicBezTo>
                        <a:pt x="952" y="1493"/>
                        <a:pt x="952" y="1493"/>
                        <a:pt x="952" y="1493"/>
                      </a:cubicBezTo>
                      <a:cubicBezTo>
                        <a:pt x="958" y="1520"/>
                        <a:pt x="982" y="1540"/>
                        <a:pt x="1010" y="1540"/>
                      </a:cubicBezTo>
                      <a:cubicBezTo>
                        <a:pt x="1314" y="1540"/>
                        <a:pt x="1314" y="1540"/>
                        <a:pt x="1314" y="1540"/>
                      </a:cubicBezTo>
                      <a:cubicBezTo>
                        <a:pt x="1331" y="1540"/>
                        <a:pt x="1348" y="1532"/>
                        <a:pt x="1359" y="1519"/>
                      </a:cubicBezTo>
                      <a:cubicBezTo>
                        <a:pt x="2158" y="565"/>
                        <a:pt x="2158" y="565"/>
                        <a:pt x="2158" y="565"/>
                      </a:cubicBezTo>
                      <a:cubicBezTo>
                        <a:pt x="1875" y="1462"/>
                        <a:pt x="1875" y="1462"/>
                        <a:pt x="1875" y="1462"/>
                      </a:cubicBezTo>
                      <a:cubicBezTo>
                        <a:pt x="1873" y="1468"/>
                        <a:pt x="1872" y="1474"/>
                        <a:pt x="1872" y="1480"/>
                      </a:cubicBezTo>
                      <a:cubicBezTo>
                        <a:pt x="1872" y="1493"/>
                        <a:pt x="1876" y="1505"/>
                        <a:pt x="1883" y="1515"/>
                      </a:cubicBezTo>
                      <a:cubicBezTo>
                        <a:pt x="1894" y="1531"/>
                        <a:pt x="1912" y="1540"/>
                        <a:pt x="1931" y="1540"/>
                      </a:cubicBezTo>
                      <a:cubicBezTo>
                        <a:pt x="2266" y="1540"/>
                        <a:pt x="2266" y="1540"/>
                        <a:pt x="2266" y="1540"/>
                      </a:cubicBezTo>
                      <a:cubicBezTo>
                        <a:pt x="2292" y="1540"/>
                        <a:pt x="2315" y="1523"/>
                        <a:pt x="2323" y="1498"/>
                      </a:cubicBezTo>
                      <a:cubicBezTo>
                        <a:pt x="2755" y="77"/>
                        <a:pt x="2755" y="77"/>
                        <a:pt x="2755" y="77"/>
                      </a:cubicBezTo>
                      <a:cubicBezTo>
                        <a:pt x="2760" y="59"/>
                        <a:pt x="2757" y="39"/>
                        <a:pt x="2746" y="24"/>
                      </a:cubicBezTo>
                      <a:cubicBezTo>
                        <a:pt x="2734" y="9"/>
                        <a:pt x="2717" y="0"/>
                        <a:pt x="2698" y="0"/>
                      </a:cubicBezTo>
                      <a:lnTo>
                        <a:pt x="219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62" name="Freeform 7"/>
                <p:cNvSpPr/>
                <p:nvPr/>
              </p:nvSpPr>
              <p:spPr bwMode="auto">
                <a:xfrm>
                  <a:off x="3438" y="2980"/>
                  <a:ext cx="48" cy="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321" h="1540">
                      <a:moveTo>
                        <a:pt x="1916" y="0"/>
                      </a:moveTo>
                      <a:cubicBezTo>
                        <a:pt x="1891" y="0"/>
                        <a:pt x="1867" y="17"/>
                        <a:pt x="1860" y="42"/>
                      </a:cubicBezTo>
                      <a:cubicBezTo>
                        <a:pt x="1571" y="991"/>
                        <a:pt x="1571" y="991"/>
                        <a:pt x="1571" y="991"/>
                      </a:cubicBezTo>
                      <a:cubicBezTo>
                        <a:pt x="953" y="27"/>
                        <a:pt x="953" y="27"/>
                        <a:pt x="953" y="27"/>
                      </a:cubicBezTo>
                      <a:cubicBezTo>
                        <a:pt x="942" y="10"/>
                        <a:pt x="923" y="0"/>
                        <a:pt x="903" y="0"/>
                      </a:cubicBezTo>
                      <a:cubicBezTo>
                        <a:pt x="494" y="0"/>
                        <a:pt x="494" y="0"/>
                        <a:pt x="494" y="0"/>
                      </a:cubicBezTo>
                      <a:cubicBezTo>
                        <a:pt x="468" y="0"/>
                        <a:pt x="445" y="17"/>
                        <a:pt x="438" y="42"/>
                      </a:cubicBezTo>
                      <a:cubicBezTo>
                        <a:pt x="6" y="1463"/>
                        <a:pt x="6" y="1463"/>
                        <a:pt x="6" y="1463"/>
                      </a:cubicBezTo>
                      <a:cubicBezTo>
                        <a:pt x="0" y="1481"/>
                        <a:pt x="3" y="1500"/>
                        <a:pt x="15" y="1515"/>
                      </a:cubicBezTo>
                      <a:cubicBezTo>
                        <a:pt x="26" y="1531"/>
                        <a:pt x="44" y="1540"/>
                        <a:pt x="62" y="1540"/>
                      </a:cubicBezTo>
                      <a:cubicBezTo>
                        <a:pt x="404" y="1540"/>
                        <a:pt x="404" y="1540"/>
                        <a:pt x="404" y="1540"/>
                      </a:cubicBezTo>
                      <a:cubicBezTo>
                        <a:pt x="430" y="1540"/>
                        <a:pt x="454" y="1523"/>
                        <a:pt x="461" y="1498"/>
                      </a:cubicBezTo>
                      <a:cubicBezTo>
                        <a:pt x="750" y="548"/>
                        <a:pt x="750" y="548"/>
                        <a:pt x="750" y="548"/>
                      </a:cubicBezTo>
                      <a:cubicBezTo>
                        <a:pt x="1375" y="1513"/>
                        <a:pt x="1375" y="1513"/>
                        <a:pt x="1375" y="1513"/>
                      </a:cubicBezTo>
                      <a:cubicBezTo>
                        <a:pt x="1387" y="1530"/>
                        <a:pt x="1405" y="1540"/>
                        <a:pt x="1425" y="1540"/>
                      </a:cubicBezTo>
                      <a:cubicBezTo>
                        <a:pt x="1826" y="1540"/>
                        <a:pt x="1826" y="1540"/>
                        <a:pt x="1826" y="1540"/>
                      </a:cubicBezTo>
                      <a:cubicBezTo>
                        <a:pt x="1852" y="1540"/>
                        <a:pt x="1876" y="1523"/>
                        <a:pt x="1883" y="1498"/>
                      </a:cubicBezTo>
                      <a:cubicBezTo>
                        <a:pt x="2315" y="77"/>
                        <a:pt x="2315" y="77"/>
                        <a:pt x="2315" y="77"/>
                      </a:cubicBezTo>
                      <a:cubicBezTo>
                        <a:pt x="2321" y="59"/>
                        <a:pt x="2317" y="39"/>
                        <a:pt x="2306" y="24"/>
                      </a:cubicBezTo>
                      <a:cubicBezTo>
                        <a:pt x="2295" y="9"/>
                        <a:pt x="2277" y="0"/>
                        <a:pt x="2258" y="0"/>
                      </a:cubicBezTo>
                      <a:lnTo>
                        <a:pt x="191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63" name="Freeform 8"/>
                <p:cNvSpPr/>
                <p:nvPr/>
              </p:nvSpPr>
              <p:spPr bwMode="auto">
                <a:xfrm>
                  <a:off x="3297" y="2980"/>
                  <a:ext cx="44" cy="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30" h="1572">
                      <a:moveTo>
                        <a:pt x="1712" y="0"/>
                      </a:moveTo>
                      <a:cubicBezTo>
                        <a:pt x="1686" y="0"/>
                        <a:pt x="1663" y="17"/>
                        <a:pt x="1655" y="42"/>
                      </a:cubicBezTo>
                      <a:cubicBezTo>
                        <a:pt x="1411" y="840"/>
                        <a:pt x="1411" y="840"/>
                        <a:pt x="1411" y="840"/>
                      </a:cubicBezTo>
                      <a:cubicBezTo>
                        <a:pt x="1355" y="1023"/>
                        <a:pt x="1291" y="1231"/>
                        <a:pt x="861" y="1231"/>
                      </a:cubicBezTo>
                      <a:cubicBezTo>
                        <a:pt x="706" y="1231"/>
                        <a:pt x="603" y="1202"/>
                        <a:pt x="563" y="1148"/>
                      </a:cubicBezTo>
                      <a:cubicBezTo>
                        <a:pt x="518" y="1087"/>
                        <a:pt x="544" y="984"/>
                        <a:pt x="577" y="874"/>
                      </a:cubicBezTo>
                      <a:cubicBezTo>
                        <a:pt x="821" y="77"/>
                        <a:pt x="821" y="77"/>
                        <a:pt x="821" y="77"/>
                      </a:cubicBezTo>
                      <a:cubicBezTo>
                        <a:pt x="826" y="58"/>
                        <a:pt x="823" y="39"/>
                        <a:pt x="812" y="24"/>
                      </a:cubicBezTo>
                      <a:cubicBezTo>
                        <a:pt x="801" y="9"/>
                        <a:pt x="783" y="0"/>
                        <a:pt x="764" y="0"/>
                      </a:cubicBezTo>
                      <a:cubicBezTo>
                        <a:pt x="408" y="0"/>
                        <a:pt x="408" y="0"/>
                        <a:pt x="408" y="0"/>
                      </a:cubicBezTo>
                      <a:cubicBezTo>
                        <a:pt x="382" y="0"/>
                        <a:pt x="359" y="17"/>
                        <a:pt x="352" y="42"/>
                      </a:cubicBezTo>
                      <a:cubicBezTo>
                        <a:pt x="105" y="847"/>
                        <a:pt x="105" y="847"/>
                        <a:pt x="105" y="847"/>
                      </a:cubicBezTo>
                      <a:cubicBezTo>
                        <a:pt x="66" y="976"/>
                        <a:pt x="0" y="1191"/>
                        <a:pt x="123" y="1357"/>
                      </a:cubicBezTo>
                      <a:cubicBezTo>
                        <a:pt x="230" y="1501"/>
                        <a:pt x="449" y="1572"/>
                        <a:pt x="793" y="1572"/>
                      </a:cubicBezTo>
                      <a:cubicBezTo>
                        <a:pt x="1668" y="1572"/>
                        <a:pt x="1810" y="1106"/>
                        <a:pt x="1878" y="882"/>
                      </a:cubicBezTo>
                      <a:cubicBezTo>
                        <a:pt x="2125" y="77"/>
                        <a:pt x="2125" y="77"/>
                        <a:pt x="2125" y="77"/>
                      </a:cubicBezTo>
                      <a:cubicBezTo>
                        <a:pt x="2130" y="58"/>
                        <a:pt x="2127" y="39"/>
                        <a:pt x="2116" y="24"/>
                      </a:cubicBezTo>
                      <a:cubicBezTo>
                        <a:pt x="2105" y="9"/>
                        <a:pt x="2087" y="0"/>
                        <a:pt x="2068" y="0"/>
                      </a:cubicBezTo>
                      <a:lnTo>
                        <a:pt x="171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64" name="Freeform 9"/>
                <p:cNvSpPr>
                  <a:spLocks noEditPoints="1"/>
                </p:cNvSpPr>
                <p:nvPr/>
              </p:nvSpPr>
              <p:spPr bwMode="auto">
                <a:xfrm>
                  <a:off x="3391" y="2980"/>
                  <a:ext cx="42" cy="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058" h="1540">
                      <a:moveTo>
                        <a:pt x="1250" y="0"/>
                      </a:moveTo>
                      <a:cubicBezTo>
                        <a:pt x="1233" y="0"/>
                        <a:pt x="1216" y="8"/>
                        <a:pt x="1205" y="21"/>
                      </a:cubicBezTo>
                      <a:cubicBezTo>
                        <a:pt x="18" y="1442"/>
                        <a:pt x="18" y="1442"/>
                        <a:pt x="18" y="1442"/>
                      </a:cubicBezTo>
                      <a:cubicBezTo>
                        <a:pt x="3" y="1459"/>
                        <a:pt x="0" y="1484"/>
                        <a:pt x="10" y="1505"/>
                      </a:cubicBezTo>
                      <a:cubicBezTo>
                        <a:pt x="20" y="1526"/>
                        <a:pt x="41" y="1540"/>
                        <a:pt x="63" y="1540"/>
                      </a:cubicBezTo>
                      <a:cubicBezTo>
                        <a:pt x="448" y="1540"/>
                        <a:pt x="448" y="1540"/>
                        <a:pt x="448" y="1540"/>
                      </a:cubicBezTo>
                      <a:cubicBezTo>
                        <a:pt x="466" y="1540"/>
                        <a:pt x="483" y="1532"/>
                        <a:pt x="494" y="1517"/>
                      </a:cubicBezTo>
                      <a:cubicBezTo>
                        <a:pt x="759" y="1187"/>
                        <a:pt x="759" y="1187"/>
                        <a:pt x="759" y="1187"/>
                      </a:cubicBezTo>
                      <a:cubicBezTo>
                        <a:pt x="1480" y="1187"/>
                        <a:pt x="1480" y="1187"/>
                        <a:pt x="1480" y="1187"/>
                      </a:cubicBezTo>
                      <a:cubicBezTo>
                        <a:pt x="1541" y="1492"/>
                        <a:pt x="1541" y="1492"/>
                        <a:pt x="1541" y="1492"/>
                      </a:cubicBezTo>
                      <a:cubicBezTo>
                        <a:pt x="1547" y="1519"/>
                        <a:pt x="1571" y="1540"/>
                        <a:pt x="1599" y="1540"/>
                      </a:cubicBezTo>
                      <a:cubicBezTo>
                        <a:pt x="1996" y="1540"/>
                        <a:pt x="1996" y="1540"/>
                        <a:pt x="1996" y="1540"/>
                      </a:cubicBezTo>
                      <a:cubicBezTo>
                        <a:pt x="2014" y="1540"/>
                        <a:pt x="2031" y="1532"/>
                        <a:pt x="2042" y="1517"/>
                      </a:cubicBezTo>
                      <a:cubicBezTo>
                        <a:pt x="2053" y="1503"/>
                        <a:pt x="2058" y="1484"/>
                        <a:pt x="2054" y="1467"/>
                      </a:cubicBezTo>
                      <a:cubicBezTo>
                        <a:pt x="1730" y="46"/>
                        <a:pt x="1730" y="46"/>
                        <a:pt x="1730" y="46"/>
                      </a:cubicBezTo>
                      <a:cubicBezTo>
                        <a:pt x="1724" y="19"/>
                        <a:pt x="1701" y="0"/>
                        <a:pt x="1673" y="0"/>
                      </a:cubicBezTo>
                      <a:lnTo>
                        <a:pt x="1250" y="0"/>
                      </a:lnTo>
                      <a:close/>
                      <a:moveTo>
                        <a:pt x="1360" y="392"/>
                      </a:moveTo>
                      <a:cubicBezTo>
                        <a:pt x="1446" y="868"/>
                        <a:pt x="1446" y="868"/>
                        <a:pt x="1446" y="868"/>
                      </a:cubicBezTo>
                      <a:cubicBezTo>
                        <a:pt x="982" y="868"/>
                        <a:pt x="982" y="868"/>
                        <a:pt x="982" y="868"/>
                      </a:cubicBezTo>
                      <a:cubicBezTo>
                        <a:pt x="1329" y="432"/>
                        <a:pt x="1329" y="432"/>
                        <a:pt x="1329" y="432"/>
                      </a:cubicBezTo>
                      <a:lnTo>
                        <a:pt x="1360" y="39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65" name="Freeform 10"/>
                <p:cNvSpPr/>
                <p:nvPr/>
              </p:nvSpPr>
              <p:spPr bwMode="auto">
                <a:xfrm>
                  <a:off x="2890" y="2980"/>
                  <a:ext cx="41" cy="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026" h="1540">
                      <a:moveTo>
                        <a:pt x="494" y="0"/>
                      </a:moveTo>
                      <a:cubicBezTo>
                        <a:pt x="468" y="0"/>
                        <a:pt x="445" y="17"/>
                        <a:pt x="437" y="42"/>
                      </a:cubicBezTo>
                      <a:cubicBezTo>
                        <a:pt x="5" y="1463"/>
                        <a:pt x="5" y="1463"/>
                        <a:pt x="5" y="1463"/>
                      </a:cubicBezTo>
                      <a:cubicBezTo>
                        <a:pt x="0" y="1481"/>
                        <a:pt x="3" y="1500"/>
                        <a:pt x="14" y="1516"/>
                      </a:cubicBezTo>
                      <a:cubicBezTo>
                        <a:pt x="26" y="1531"/>
                        <a:pt x="43" y="1540"/>
                        <a:pt x="62" y="1540"/>
                      </a:cubicBezTo>
                      <a:cubicBezTo>
                        <a:pt x="1553" y="1540"/>
                        <a:pt x="1553" y="1540"/>
                        <a:pt x="1553" y="1540"/>
                      </a:cubicBezTo>
                      <a:cubicBezTo>
                        <a:pt x="1579" y="1540"/>
                        <a:pt x="1602" y="1523"/>
                        <a:pt x="1610" y="1498"/>
                      </a:cubicBezTo>
                      <a:cubicBezTo>
                        <a:pt x="1678" y="1274"/>
                        <a:pt x="1678" y="1274"/>
                        <a:pt x="1678" y="1274"/>
                      </a:cubicBezTo>
                      <a:cubicBezTo>
                        <a:pt x="1683" y="1257"/>
                        <a:pt x="1680" y="1237"/>
                        <a:pt x="1669" y="1222"/>
                      </a:cubicBezTo>
                      <a:cubicBezTo>
                        <a:pt x="1658" y="1207"/>
                        <a:pt x="1640" y="1198"/>
                        <a:pt x="1621" y="1198"/>
                      </a:cubicBezTo>
                      <a:cubicBezTo>
                        <a:pt x="566" y="1198"/>
                        <a:pt x="566" y="1198"/>
                        <a:pt x="566" y="1198"/>
                      </a:cubicBezTo>
                      <a:cubicBezTo>
                        <a:pt x="649" y="923"/>
                        <a:pt x="649" y="923"/>
                        <a:pt x="649" y="923"/>
                      </a:cubicBezTo>
                      <a:cubicBezTo>
                        <a:pt x="1677" y="923"/>
                        <a:pt x="1677" y="923"/>
                        <a:pt x="1677" y="923"/>
                      </a:cubicBezTo>
                      <a:cubicBezTo>
                        <a:pt x="1703" y="923"/>
                        <a:pt x="1726" y="906"/>
                        <a:pt x="1733" y="881"/>
                      </a:cubicBezTo>
                      <a:cubicBezTo>
                        <a:pt x="1801" y="658"/>
                        <a:pt x="1801" y="658"/>
                        <a:pt x="1801" y="658"/>
                      </a:cubicBezTo>
                      <a:cubicBezTo>
                        <a:pt x="1803" y="652"/>
                        <a:pt x="1804" y="646"/>
                        <a:pt x="1804" y="641"/>
                      </a:cubicBezTo>
                      <a:cubicBezTo>
                        <a:pt x="1804" y="628"/>
                        <a:pt x="1800" y="616"/>
                        <a:pt x="1792" y="605"/>
                      </a:cubicBezTo>
                      <a:cubicBezTo>
                        <a:pt x="1781" y="590"/>
                        <a:pt x="1763" y="581"/>
                        <a:pt x="1744" y="581"/>
                      </a:cubicBezTo>
                      <a:cubicBezTo>
                        <a:pt x="754" y="581"/>
                        <a:pt x="754" y="581"/>
                        <a:pt x="754" y="581"/>
                      </a:cubicBezTo>
                      <a:cubicBezTo>
                        <a:pt x="826" y="342"/>
                        <a:pt x="826" y="342"/>
                        <a:pt x="826" y="342"/>
                      </a:cubicBezTo>
                      <a:cubicBezTo>
                        <a:pt x="1899" y="342"/>
                        <a:pt x="1899" y="342"/>
                        <a:pt x="1899" y="342"/>
                      </a:cubicBezTo>
                      <a:cubicBezTo>
                        <a:pt x="1925" y="342"/>
                        <a:pt x="1948" y="325"/>
                        <a:pt x="1955" y="300"/>
                      </a:cubicBezTo>
                      <a:cubicBezTo>
                        <a:pt x="2023" y="77"/>
                        <a:pt x="2023" y="77"/>
                        <a:pt x="2023" y="77"/>
                      </a:cubicBezTo>
                      <a:cubicBezTo>
                        <a:pt x="2025" y="71"/>
                        <a:pt x="2026" y="66"/>
                        <a:pt x="2026" y="60"/>
                      </a:cubicBezTo>
                      <a:cubicBezTo>
                        <a:pt x="2026" y="47"/>
                        <a:pt x="2022" y="34"/>
                        <a:pt x="2014" y="24"/>
                      </a:cubicBezTo>
                      <a:cubicBezTo>
                        <a:pt x="2003" y="9"/>
                        <a:pt x="1985" y="0"/>
                        <a:pt x="1966" y="0"/>
                      </a:cubicBezTo>
                      <a:lnTo>
                        <a:pt x="49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66" name="Freeform 11"/>
                <p:cNvSpPr>
                  <a:spLocks noEditPoints="1"/>
                </p:cNvSpPr>
                <p:nvPr/>
              </p:nvSpPr>
              <p:spPr bwMode="auto">
                <a:xfrm>
                  <a:off x="2789" y="2979"/>
                  <a:ext cx="46" cy="3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240" h="1611">
                      <a:moveTo>
                        <a:pt x="66" y="788"/>
                      </a:moveTo>
                      <a:cubicBezTo>
                        <a:pt x="0" y="1006"/>
                        <a:pt x="20" y="1196"/>
                        <a:pt x="125" y="1338"/>
                      </a:cubicBezTo>
                      <a:cubicBezTo>
                        <a:pt x="259" y="1519"/>
                        <a:pt x="517" y="1611"/>
                        <a:pt x="892" y="1611"/>
                      </a:cubicBezTo>
                      <a:cubicBezTo>
                        <a:pt x="1544" y="1611"/>
                        <a:pt x="2023" y="1316"/>
                        <a:pt x="2174" y="823"/>
                      </a:cubicBezTo>
                      <a:cubicBezTo>
                        <a:pt x="2240" y="605"/>
                        <a:pt x="2220" y="415"/>
                        <a:pt x="2115" y="273"/>
                      </a:cubicBezTo>
                      <a:cubicBezTo>
                        <a:pt x="1981" y="92"/>
                        <a:pt x="1723" y="0"/>
                        <a:pt x="1348" y="0"/>
                      </a:cubicBezTo>
                      <a:cubicBezTo>
                        <a:pt x="696" y="0"/>
                        <a:pt x="217" y="295"/>
                        <a:pt x="66" y="788"/>
                      </a:cubicBezTo>
                      <a:close/>
                      <a:moveTo>
                        <a:pt x="576" y="1133"/>
                      </a:moveTo>
                      <a:cubicBezTo>
                        <a:pt x="505" y="1037"/>
                        <a:pt x="523" y="911"/>
                        <a:pt x="550" y="823"/>
                      </a:cubicBezTo>
                      <a:cubicBezTo>
                        <a:pt x="641" y="525"/>
                        <a:pt x="921" y="340"/>
                        <a:pt x="1280" y="340"/>
                      </a:cubicBezTo>
                      <a:cubicBezTo>
                        <a:pt x="1465" y="340"/>
                        <a:pt x="1597" y="388"/>
                        <a:pt x="1664" y="478"/>
                      </a:cubicBezTo>
                      <a:cubicBezTo>
                        <a:pt x="1701" y="528"/>
                        <a:pt x="1714" y="586"/>
                        <a:pt x="1714" y="643"/>
                      </a:cubicBezTo>
                      <a:cubicBezTo>
                        <a:pt x="1714" y="695"/>
                        <a:pt x="1703" y="746"/>
                        <a:pt x="1690" y="788"/>
                      </a:cubicBezTo>
                      <a:cubicBezTo>
                        <a:pt x="1599" y="1086"/>
                        <a:pt x="1319" y="1270"/>
                        <a:pt x="960" y="1270"/>
                      </a:cubicBezTo>
                      <a:cubicBezTo>
                        <a:pt x="775" y="1270"/>
                        <a:pt x="643" y="1223"/>
                        <a:pt x="576" y="113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67" name="Freeform 12"/>
                <p:cNvSpPr>
                  <a:spLocks noEditPoints="1"/>
                </p:cNvSpPr>
                <p:nvPr/>
              </p:nvSpPr>
              <p:spPr bwMode="auto">
                <a:xfrm>
                  <a:off x="2742" y="2977"/>
                  <a:ext cx="46" cy="35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258" h="1694">
                      <a:moveTo>
                        <a:pt x="544" y="0"/>
                      </a:moveTo>
                      <a:cubicBezTo>
                        <a:pt x="518" y="0"/>
                        <a:pt x="495" y="17"/>
                        <a:pt x="487" y="43"/>
                      </a:cubicBezTo>
                      <a:cubicBezTo>
                        <a:pt x="5" y="1616"/>
                        <a:pt x="5" y="1616"/>
                        <a:pt x="5" y="1616"/>
                      </a:cubicBezTo>
                      <a:cubicBezTo>
                        <a:pt x="0" y="1634"/>
                        <a:pt x="4" y="1654"/>
                        <a:pt x="15" y="1669"/>
                      </a:cubicBezTo>
                      <a:cubicBezTo>
                        <a:pt x="26" y="1685"/>
                        <a:pt x="44" y="1694"/>
                        <a:pt x="63" y="1694"/>
                      </a:cubicBezTo>
                      <a:cubicBezTo>
                        <a:pt x="460" y="1694"/>
                        <a:pt x="460" y="1694"/>
                        <a:pt x="460" y="1694"/>
                      </a:cubicBezTo>
                      <a:cubicBezTo>
                        <a:pt x="486" y="1694"/>
                        <a:pt x="510" y="1676"/>
                        <a:pt x="517" y="1651"/>
                      </a:cubicBezTo>
                      <a:cubicBezTo>
                        <a:pt x="688" y="1094"/>
                        <a:pt x="688" y="1094"/>
                        <a:pt x="688" y="1094"/>
                      </a:cubicBezTo>
                      <a:cubicBezTo>
                        <a:pt x="1416" y="1094"/>
                        <a:pt x="1416" y="1094"/>
                        <a:pt x="1416" y="1094"/>
                      </a:cubicBezTo>
                      <a:cubicBezTo>
                        <a:pt x="1866" y="1094"/>
                        <a:pt x="2149" y="829"/>
                        <a:pt x="2229" y="567"/>
                      </a:cubicBezTo>
                      <a:cubicBezTo>
                        <a:pt x="2248" y="504"/>
                        <a:pt x="2258" y="445"/>
                        <a:pt x="2258" y="391"/>
                      </a:cubicBezTo>
                      <a:cubicBezTo>
                        <a:pt x="2258" y="308"/>
                        <a:pt x="2236" y="234"/>
                        <a:pt x="2192" y="175"/>
                      </a:cubicBezTo>
                      <a:cubicBezTo>
                        <a:pt x="2106" y="59"/>
                        <a:pt x="1943" y="0"/>
                        <a:pt x="1708" y="0"/>
                      </a:cubicBezTo>
                      <a:lnTo>
                        <a:pt x="544" y="0"/>
                      </a:lnTo>
                      <a:close/>
                      <a:moveTo>
                        <a:pt x="1532" y="344"/>
                      </a:moveTo>
                      <a:cubicBezTo>
                        <a:pt x="1633" y="344"/>
                        <a:pt x="1702" y="366"/>
                        <a:pt x="1733" y="406"/>
                      </a:cubicBezTo>
                      <a:cubicBezTo>
                        <a:pt x="1745" y="423"/>
                        <a:pt x="1751" y="445"/>
                        <a:pt x="1751" y="470"/>
                      </a:cubicBezTo>
                      <a:cubicBezTo>
                        <a:pt x="1739" y="538"/>
                        <a:pt x="1739" y="538"/>
                        <a:pt x="1739" y="538"/>
                      </a:cubicBezTo>
                      <a:cubicBezTo>
                        <a:pt x="1692" y="692"/>
                        <a:pt x="1588" y="750"/>
                        <a:pt x="1356" y="750"/>
                      </a:cubicBezTo>
                      <a:cubicBezTo>
                        <a:pt x="770" y="750"/>
                        <a:pt x="770" y="750"/>
                        <a:pt x="770" y="750"/>
                      </a:cubicBezTo>
                      <a:cubicBezTo>
                        <a:pt x="893" y="344"/>
                        <a:pt x="893" y="344"/>
                        <a:pt x="893" y="344"/>
                      </a:cubicBezTo>
                      <a:lnTo>
                        <a:pt x="1532" y="34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68" name="Freeform 13"/>
                <p:cNvSpPr>
                  <a:spLocks noEditPoints="1"/>
                </p:cNvSpPr>
                <p:nvPr/>
              </p:nvSpPr>
              <p:spPr bwMode="auto">
                <a:xfrm>
                  <a:off x="2929" y="2980"/>
                  <a:ext cx="44" cy="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66" h="1540">
                      <a:moveTo>
                        <a:pt x="1782" y="1508"/>
                      </a:moveTo>
                      <a:cubicBezTo>
                        <a:pt x="1765" y="1528"/>
                        <a:pt x="1740" y="1540"/>
                        <a:pt x="1718" y="1540"/>
                      </a:cubicBezTo>
                      <a:cubicBezTo>
                        <a:pt x="1322" y="1540"/>
                        <a:pt x="1322" y="1540"/>
                        <a:pt x="1322" y="1540"/>
                      </a:cubicBezTo>
                      <a:cubicBezTo>
                        <a:pt x="1300" y="1540"/>
                        <a:pt x="1282" y="1527"/>
                        <a:pt x="1277" y="1507"/>
                      </a:cubicBezTo>
                      <a:cubicBezTo>
                        <a:pt x="1153" y="981"/>
                        <a:pt x="1153" y="981"/>
                        <a:pt x="1153" y="981"/>
                      </a:cubicBezTo>
                      <a:cubicBezTo>
                        <a:pt x="642" y="981"/>
                        <a:pt x="642" y="981"/>
                        <a:pt x="642" y="981"/>
                      </a:cubicBezTo>
                      <a:cubicBezTo>
                        <a:pt x="491" y="1477"/>
                        <a:pt x="491" y="1477"/>
                        <a:pt x="491" y="1477"/>
                      </a:cubicBezTo>
                      <a:cubicBezTo>
                        <a:pt x="481" y="1511"/>
                        <a:pt x="444" y="1540"/>
                        <a:pt x="409" y="1540"/>
                      </a:cubicBezTo>
                      <a:cubicBezTo>
                        <a:pt x="54" y="1540"/>
                        <a:pt x="54" y="1540"/>
                        <a:pt x="54" y="1540"/>
                      </a:cubicBezTo>
                      <a:cubicBezTo>
                        <a:pt x="19" y="1540"/>
                        <a:pt x="0" y="1511"/>
                        <a:pt x="10" y="1477"/>
                      </a:cubicBezTo>
                      <a:cubicBezTo>
                        <a:pt x="441" y="63"/>
                        <a:pt x="441" y="63"/>
                        <a:pt x="441" y="63"/>
                      </a:cubicBezTo>
                      <a:cubicBezTo>
                        <a:pt x="452" y="28"/>
                        <a:pt x="489" y="0"/>
                        <a:pt x="523" y="0"/>
                      </a:cubicBezTo>
                      <a:cubicBezTo>
                        <a:pt x="1593" y="0"/>
                        <a:pt x="1593" y="0"/>
                        <a:pt x="1593" y="0"/>
                      </a:cubicBezTo>
                      <a:cubicBezTo>
                        <a:pt x="2166" y="0"/>
                        <a:pt x="2124" y="337"/>
                        <a:pt x="2080" y="482"/>
                      </a:cubicBezTo>
                      <a:cubicBezTo>
                        <a:pt x="2017" y="690"/>
                        <a:pt x="1820" y="847"/>
                        <a:pt x="1658" y="895"/>
                      </a:cubicBezTo>
                      <a:cubicBezTo>
                        <a:pt x="1802" y="1445"/>
                        <a:pt x="1802" y="1445"/>
                        <a:pt x="1802" y="1445"/>
                      </a:cubicBezTo>
                      <a:cubicBezTo>
                        <a:pt x="1807" y="1465"/>
                        <a:pt x="1799" y="1489"/>
                        <a:pt x="1782" y="1508"/>
                      </a:cubicBezTo>
                      <a:close/>
                      <a:moveTo>
                        <a:pt x="836" y="325"/>
                      </a:moveTo>
                      <a:cubicBezTo>
                        <a:pt x="819" y="325"/>
                        <a:pt x="819" y="325"/>
                        <a:pt x="819" y="325"/>
                      </a:cubicBezTo>
                      <a:cubicBezTo>
                        <a:pt x="718" y="656"/>
                        <a:pt x="718" y="656"/>
                        <a:pt x="718" y="656"/>
                      </a:cubicBezTo>
                      <a:cubicBezTo>
                        <a:pt x="1298" y="656"/>
                        <a:pt x="1298" y="656"/>
                        <a:pt x="1298" y="656"/>
                      </a:cubicBezTo>
                      <a:cubicBezTo>
                        <a:pt x="1535" y="656"/>
                        <a:pt x="1578" y="580"/>
                        <a:pt x="1604" y="495"/>
                      </a:cubicBezTo>
                      <a:cubicBezTo>
                        <a:pt x="1611" y="471"/>
                        <a:pt x="1625" y="427"/>
                        <a:pt x="1595" y="387"/>
                      </a:cubicBezTo>
                      <a:cubicBezTo>
                        <a:pt x="1564" y="346"/>
                        <a:pt x="1495" y="325"/>
                        <a:pt x="1385" y="325"/>
                      </a:cubicBezTo>
                      <a:lnTo>
                        <a:pt x="836" y="32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69" name="Freeform 14"/>
                <p:cNvSpPr/>
                <p:nvPr/>
              </p:nvSpPr>
              <p:spPr bwMode="auto">
                <a:xfrm>
                  <a:off x="2839" y="2980"/>
                  <a:ext cx="54" cy="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624" h="1540">
                      <a:moveTo>
                        <a:pt x="1579" y="930"/>
                      </a:moveTo>
                      <a:cubicBezTo>
                        <a:pt x="2154" y="19"/>
                        <a:pt x="2154" y="19"/>
                        <a:pt x="2154" y="19"/>
                      </a:cubicBezTo>
                      <a:cubicBezTo>
                        <a:pt x="2162" y="7"/>
                        <a:pt x="2175" y="0"/>
                        <a:pt x="2189" y="0"/>
                      </a:cubicBezTo>
                      <a:cubicBezTo>
                        <a:pt x="2581" y="0"/>
                        <a:pt x="2581" y="0"/>
                        <a:pt x="2581" y="0"/>
                      </a:cubicBezTo>
                      <a:cubicBezTo>
                        <a:pt x="2596" y="0"/>
                        <a:pt x="2610" y="8"/>
                        <a:pt x="2617" y="22"/>
                      </a:cubicBezTo>
                      <a:cubicBezTo>
                        <a:pt x="2624" y="36"/>
                        <a:pt x="2624" y="52"/>
                        <a:pt x="2615" y="65"/>
                      </a:cubicBezTo>
                      <a:cubicBezTo>
                        <a:pt x="1623" y="1521"/>
                        <a:pt x="1623" y="1521"/>
                        <a:pt x="1623" y="1521"/>
                      </a:cubicBezTo>
                      <a:cubicBezTo>
                        <a:pt x="1615" y="1533"/>
                        <a:pt x="1603" y="1540"/>
                        <a:pt x="1589" y="1540"/>
                      </a:cubicBezTo>
                      <a:cubicBezTo>
                        <a:pt x="1194" y="1540"/>
                        <a:pt x="1194" y="1540"/>
                        <a:pt x="1194" y="1540"/>
                      </a:cubicBezTo>
                      <a:cubicBezTo>
                        <a:pt x="1183" y="1540"/>
                        <a:pt x="1172" y="1535"/>
                        <a:pt x="1165" y="1528"/>
                      </a:cubicBezTo>
                      <a:cubicBezTo>
                        <a:pt x="1157" y="1519"/>
                        <a:pt x="1153" y="1509"/>
                        <a:pt x="1153" y="1498"/>
                      </a:cubicBezTo>
                      <a:cubicBezTo>
                        <a:pt x="1158" y="556"/>
                        <a:pt x="1158" y="556"/>
                        <a:pt x="1158" y="556"/>
                      </a:cubicBezTo>
                      <a:cubicBezTo>
                        <a:pt x="578" y="1519"/>
                        <a:pt x="578" y="1519"/>
                        <a:pt x="578" y="1519"/>
                      </a:cubicBezTo>
                      <a:cubicBezTo>
                        <a:pt x="571" y="1532"/>
                        <a:pt x="557" y="1540"/>
                        <a:pt x="542" y="1540"/>
                      </a:cubicBezTo>
                      <a:cubicBezTo>
                        <a:pt x="137" y="1540"/>
                        <a:pt x="137" y="1540"/>
                        <a:pt x="137" y="1540"/>
                      </a:cubicBezTo>
                      <a:cubicBezTo>
                        <a:pt x="115" y="1540"/>
                        <a:pt x="98" y="1523"/>
                        <a:pt x="96" y="1501"/>
                      </a:cubicBezTo>
                      <a:cubicBezTo>
                        <a:pt x="1" y="44"/>
                        <a:pt x="1" y="44"/>
                        <a:pt x="1" y="44"/>
                      </a:cubicBezTo>
                      <a:cubicBezTo>
                        <a:pt x="0" y="33"/>
                        <a:pt x="4" y="21"/>
                        <a:pt x="12" y="13"/>
                      </a:cubicBezTo>
                      <a:cubicBezTo>
                        <a:pt x="19" y="5"/>
                        <a:pt x="31" y="0"/>
                        <a:pt x="42" y="0"/>
                      </a:cubicBez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73" y="0"/>
                        <a:pt x="492" y="18"/>
                        <a:pt x="492" y="41"/>
                      </a:cubicBezTo>
                      <a:cubicBezTo>
                        <a:pt x="500" y="994"/>
                        <a:pt x="500" y="994"/>
                        <a:pt x="500" y="994"/>
                      </a:cubicBezTo>
                      <a:cubicBezTo>
                        <a:pt x="1090" y="20"/>
                        <a:pt x="1090" y="20"/>
                        <a:pt x="1090" y="20"/>
                      </a:cubicBezTo>
                      <a:cubicBezTo>
                        <a:pt x="1098" y="8"/>
                        <a:pt x="1111" y="0"/>
                        <a:pt x="1125" y="0"/>
                      </a:cubicBezTo>
                      <a:cubicBezTo>
                        <a:pt x="1514" y="0"/>
                        <a:pt x="1514" y="0"/>
                        <a:pt x="1514" y="0"/>
                      </a:cubicBezTo>
                      <a:cubicBezTo>
                        <a:pt x="1525" y="0"/>
                        <a:pt x="1536" y="4"/>
                        <a:pt x="1543" y="12"/>
                      </a:cubicBezTo>
                      <a:cubicBezTo>
                        <a:pt x="1551" y="20"/>
                        <a:pt x="1556" y="30"/>
                        <a:pt x="1556" y="41"/>
                      </a:cubicBezTo>
                      <a:cubicBezTo>
                        <a:pt x="1539" y="993"/>
                        <a:pt x="1539" y="993"/>
                        <a:pt x="1539" y="993"/>
                      </a:cubicBezTo>
                      <a:lnTo>
                        <a:pt x="1579" y="93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70" name="Freeform 15"/>
                <p:cNvSpPr/>
                <p:nvPr/>
              </p:nvSpPr>
              <p:spPr bwMode="auto">
                <a:xfrm>
                  <a:off x="3645" y="2979"/>
                  <a:ext cx="44" cy="3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39" h="1611">
                      <a:moveTo>
                        <a:pt x="67" y="788"/>
                      </a:moveTo>
                      <a:cubicBezTo>
                        <a:pt x="0" y="1006"/>
                        <a:pt x="23" y="1206"/>
                        <a:pt x="131" y="1352"/>
                      </a:cubicBezTo>
                      <a:cubicBezTo>
                        <a:pt x="219" y="1470"/>
                        <a:pt x="406" y="1611"/>
                        <a:pt x="801" y="1611"/>
                      </a:cubicBezTo>
                      <a:cubicBezTo>
                        <a:pt x="1547" y="1611"/>
                        <a:pt x="1865" y="1277"/>
                        <a:pt x="2000" y="997"/>
                      </a:cubicBezTo>
                      <a:cubicBezTo>
                        <a:pt x="2009" y="979"/>
                        <a:pt x="2008" y="957"/>
                        <a:pt x="1997" y="940"/>
                      </a:cubicBezTo>
                      <a:cubicBezTo>
                        <a:pt x="1986" y="923"/>
                        <a:pt x="1967" y="912"/>
                        <a:pt x="1947" y="912"/>
                      </a:cubicBezTo>
                      <a:cubicBezTo>
                        <a:pt x="1562" y="912"/>
                        <a:pt x="1562" y="912"/>
                        <a:pt x="1562" y="912"/>
                      </a:cubicBezTo>
                      <a:cubicBezTo>
                        <a:pt x="1539" y="912"/>
                        <a:pt x="1519" y="925"/>
                        <a:pt x="1509" y="945"/>
                      </a:cubicBezTo>
                      <a:cubicBezTo>
                        <a:pt x="1460" y="1043"/>
                        <a:pt x="1306" y="1270"/>
                        <a:pt x="930" y="1270"/>
                      </a:cubicBezTo>
                      <a:cubicBezTo>
                        <a:pt x="765" y="1270"/>
                        <a:pt x="638" y="1222"/>
                        <a:pt x="573" y="1134"/>
                      </a:cubicBezTo>
                      <a:cubicBezTo>
                        <a:pt x="519" y="1061"/>
                        <a:pt x="508" y="962"/>
                        <a:pt x="543" y="848"/>
                      </a:cubicBezTo>
                      <a:cubicBezTo>
                        <a:pt x="641" y="530"/>
                        <a:pt x="896" y="340"/>
                        <a:pt x="1227" y="340"/>
                      </a:cubicBezTo>
                      <a:cubicBezTo>
                        <a:pt x="1386" y="340"/>
                        <a:pt x="1507" y="379"/>
                        <a:pt x="1568" y="448"/>
                      </a:cubicBezTo>
                      <a:cubicBezTo>
                        <a:pt x="1605" y="491"/>
                        <a:pt x="1619" y="547"/>
                        <a:pt x="1610" y="613"/>
                      </a:cubicBezTo>
                      <a:cubicBezTo>
                        <a:pt x="1608" y="630"/>
                        <a:pt x="1613" y="647"/>
                        <a:pt x="1624" y="660"/>
                      </a:cubicBezTo>
                      <a:cubicBezTo>
                        <a:pt x="1636" y="673"/>
                        <a:pt x="1652" y="681"/>
                        <a:pt x="1669" y="681"/>
                      </a:cubicBezTo>
                      <a:cubicBezTo>
                        <a:pt x="2054" y="681"/>
                        <a:pt x="2054" y="681"/>
                        <a:pt x="2054" y="681"/>
                      </a:cubicBezTo>
                      <a:cubicBezTo>
                        <a:pt x="2082" y="681"/>
                        <a:pt x="2107" y="660"/>
                        <a:pt x="2112" y="632"/>
                      </a:cubicBezTo>
                      <a:cubicBezTo>
                        <a:pt x="2139" y="484"/>
                        <a:pt x="2106" y="349"/>
                        <a:pt x="2017" y="243"/>
                      </a:cubicBezTo>
                      <a:cubicBezTo>
                        <a:pt x="1885" y="84"/>
                        <a:pt x="1636" y="0"/>
                        <a:pt x="1299" y="0"/>
                      </a:cubicBezTo>
                      <a:cubicBezTo>
                        <a:pt x="568" y="0"/>
                        <a:pt x="184" y="407"/>
                        <a:pt x="67" y="78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71" name="Freeform 16"/>
                <p:cNvSpPr/>
                <p:nvPr/>
              </p:nvSpPr>
              <p:spPr bwMode="auto">
                <a:xfrm>
                  <a:off x="3602" y="2980"/>
                  <a:ext cx="43" cy="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130" h="1572">
                      <a:moveTo>
                        <a:pt x="1711" y="0"/>
                      </a:moveTo>
                      <a:cubicBezTo>
                        <a:pt x="1685" y="0"/>
                        <a:pt x="1662" y="17"/>
                        <a:pt x="1654" y="42"/>
                      </a:cubicBezTo>
                      <a:cubicBezTo>
                        <a:pt x="1411" y="840"/>
                        <a:pt x="1411" y="840"/>
                        <a:pt x="1411" y="840"/>
                      </a:cubicBezTo>
                      <a:cubicBezTo>
                        <a:pt x="1355" y="1023"/>
                        <a:pt x="1291" y="1231"/>
                        <a:pt x="860" y="1231"/>
                      </a:cubicBezTo>
                      <a:cubicBezTo>
                        <a:pt x="705" y="1231"/>
                        <a:pt x="602" y="1202"/>
                        <a:pt x="562" y="1148"/>
                      </a:cubicBezTo>
                      <a:cubicBezTo>
                        <a:pt x="517" y="1087"/>
                        <a:pt x="543" y="984"/>
                        <a:pt x="577" y="874"/>
                      </a:cubicBezTo>
                      <a:cubicBezTo>
                        <a:pt x="821" y="77"/>
                        <a:pt x="821" y="77"/>
                        <a:pt x="821" y="77"/>
                      </a:cubicBezTo>
                      <a:cubicBezTo>
                        <a:pt x="826" y="58"/>
                        <a:pt x="823" y="39"/>
                        <a:pt x="812" y="24"/>
                      </a:cubicBezTo>
                      <a:cubicBezTo>
                        <a:pt x="800" y="9"/>
                        <a:pt x="783" y="0"/>
                        <a:pt x="764" y="0"/>
                      </a:cubicBezTo>
                      <a:cubicBezTo>
                        <a:pt x="408" y="0"/>
                        <a:pt x="408" y="0"/>
                        <a:pt x="408" y="0"/>
                      </a:cubicBezTo>
                      <a:cubicBezTo>
                        <a:pt x="382" y="0"/>
                        <a:pt x="359" y="17"/>
                        <a:pt x="351" y="42"/>
                      </a:cubicBezTo>
                      <a:cubicBezTo>
                        <a:pt x="105" y="847"/>
                        <a:pt x="105" y="847"/>
                        <a:pt x="105" y="847"/>
                      </a:cubicBezTo>
                      <a:cubicBezTo>
                        <a:pt x="65" y="976"/>
                        <a:pt x="0" y="1191"/>
                        <a:pt x="123" y="1357"/>
                      </a:cubicBezTo>
                      <a:cubicBezTo>
                        <a:pt x="230" y="1501"/>
                        <a:pt x="449" y="1572"/>
                        <a:pt x="792" y="1572"/>
                      </a:cubicBezTo>
                      <a:cubicBezTo>
                        <a:pt x="1667" y="1572"/>
                        <a:pt x="1809" y="1106"/>
                        <a:pt x="1878" y="882"/>
                      </a:cubicBezTo>
                      <a:cubicBezTo>
                        <a:pt x="2124" y="77"/>
                        <a:pt x="2124" y="77"/>
                        <a:pt x="2124" y="77"/>
                      </a:cubicBezTo>
                      <a:cubicBezTo>
                        <a:pt x="2130" y="58"/>
                        <a:pt x="2126" y="39"/>
                        <a:pt x="2115" y="24"/>
                      </a:cubicBezTo>
                      <a:cubicBezTo>
                        <a:pt x="2104" y="9"/>
                        <a:pt x="2086" y="0"/>
                        <a:pt x="2067" y="0"/>
                      </a:cubicBezTo>
                      <a:lnTo>
                        <a:pt x="1711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72" name="Freeform 17"/>
                <p:cNvSpPr>
                  <a:spLocks noEditPoints="1"/>
                </p:cNvSpPr>
                <p:nvPr/>
              </p:nvSpPr>
              <p:spPr bwMode="auto">
                <a:xfrm>
                  <a:off x="3554" y="2979"/>
                  <a:ext cx="46" cy="3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241" h="1611">
                      <a:moveTo>
                        <a:pt x="66" y="788"/>
                      </a:moveTo>
                      <a:cubicBezTo>
                        <a:pt x="0" y="1006"/>
                        <a:pt x="20" y="1196"/>
                        <a:pt x="126" y="1338"/>
                      </a:cubicBezTo>
                      <a:cubicBezTo>
                        <a:pt x="260" y="1519"/>
                        <a:pt x="518" y="1611"/>
                        <a:pt x="892" y="1611"/>
                      </a:cubicBezTo>
                      <a:cubicBezTo>
                        <a:pt x="1544" y="1611"/>
                        <a:pt x="2024" y="1316"/>
                        <a:pt x="2175" y="823"/>
                      </a:cubicBezTo>
                      <a:cubicBezTo>
                        <a:pt x="2241" y="605"/>
                        <a:pt x="2221" y="415"/>
                        <a:pt x="2115" y="273"/>
                      </a:cubicBezTo>
                      <a:cubicBezTo>
                        <a:pt x="1982" y="92"/>
                        <a:pt x="1723" y="0"/>
                        <a:pt x="1349" y="0"/>
                      </a:cubicBezTo>
                      <a:cubicBezTo>
                        <a:pt x="697" y="0"/>
                        <a:pt x="217" y="295"/>
                        <a:pt x="66" y="788"/>
                      </a:cubicBezTo>
                      <a:close/>
                      <a:moveTo>
                        <a:pt x="576" y="1133"/>
                      </a:moveTo>
                      <a:cubicBezTo>
                        <a:pt x="506" y="1037"/>
                        <a:pt x="523" y="911"/>
                        <a:pt x="551" y="823"/>
                      </a:cubicBezTo>
                      <a:cubicBezTo>
                        <a:pt x="642" y="525"/>
                        <a:pt x="922" y="340"/>
                        <a:pt x="1281" y="340"/>
                      </a:cubicBezTo>
                      <a:cubicBezTo>
                        <a:pt x="1465" y="340"/>
                        <a:pt x="1598" y="388"/>
                        <a:pt x="1665" y="478"/>
                      </a:cubicBezTo>
                      <a:cubicBezTo>
                        <a:pt x="1702" y="528"/>
                        <a:pt x="1714" y="586"/>
                        <a:pt x="1714" y="643"/>
                      </a:cubicBezTo>
                      <a:cubicBezTo>
                        <a:pt x="1714" y="695"/>
                        <a:pt x="1703" y="746"/>
                        <a:pt x="1691" y="788"/>
                      </a:cubicBezTo>
                      <a:cubicBezTo>
                        <a:pt x="1600" y="1086"/>
                        <a:pt x="1320" y="1270"/>
                        <a:pt x="960" y="1270"/>
                      </a:cubicBezTo>
                      <a:cubicBezTo>
                        <a:pt x="776" y="1270"/>
                        <a:pt x="643" y="1223"/>
                        <a:pt x="576" y="113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73" name="Freeform 18"/>
                <p:cNvSpPr/>
                <p:nvPr/>
              </p:nvSpPr>
              <p:spPr bwMode="auto">
                <a:xfrm>
                  <a:off x="3513" y="2977"/>
                  <a:ext cx="41" cy="35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013" h="1694">
                      <a:moveTo>
                        <a:pt x="138" y="0"/>
                      </a:moveTo>
                      <a:cubicBezTo>
                        <a:pt x="112" y="0"/>
                        <a:pt x="89" y="17"/>
                        <a:pt x="81" y="43"/>
                      </a:cubicBezTo>
                      <a:cubicBezTo>
                        <a:pt x="6" y="289"/>
                        <a:pt x="6" y="289"/>
                        <a:pt x="6" y="289"/>
                      </a:cubicBezTo>
                      <a:cubicBezTo>
                        <a:pt x="0" y="307"/>
                        <a:pt x="3" y="327"/>
                        <a:pt x="15" y="343"/>
                      </a:cubicBezTo>
                      <a:cubicBezTo>
                        <a:pt x="26" y="358"/>
                        <a:pt x="44" y="367"/>
                        <a:pt x="63" y="367"/>
                      </a:cubicBezTo>
                      <a:cubicBezTo>
                        <a:pt x="691" y="367"/>
                        <a:pt x="691" y="367"/>
                        <a:pt x="691" y="367"/>
                      </a:cubicBezTo>
                      <a:cubicBezTo>
                        <a:pt x="309" y="1616"/>
                        <a:pt x="309" y="1616"/>
                        <a:pt x="309" y="1616"/>
                      </a:cubicBezTo>
                      <a:cubicBezTo>
                        <a:pt x="307" y="1622"/>
                        <a:pt x="306" y="1627"/>
                        <a:pt x="306" y="1634"/>
                      </a:cubicBezTo>
                      <a:cubicBezTo>
                        <a:pt x="306" y="1646"/>
                        <a:pt x="310" y="1659"/>
                        <a:pt x="318" y="1670"/>
                      </a:cubicBezTo>
                      <a:cubicBezTo>
                        <a:pt x="329" y="1685"/>
                        <a:pt x="347" y="1694"/>
                        <a:pt x="366" y="1694"/>
                      </a:cubicBezTo>
                      <a:cubicBezTo>
                        <a:pt x="763" y="1694"/>
                        <a:pt x="763" y="1694"/>
                        <a:pt x="763" y="1694"/>
                      </a:cubicBezTo>
                      <a:cubicBezTo>
                        <a:pt x="789" y="1694"/>
                        <a:pt x="813" y="1677"/>
                        <a:pt x="820" y="1651"/>
                      </a:cubicBezTo>
                      <a:cubicBezTo>
                        <a:pt x="1213" y="367"/>
                        <a:pt x="1213" y="367"/>
                        <a:pt x="1213" y="367"/>
                      </a:cubicBezTo>
                      <a:cubicBezTo>
                        <a:pt x="1877" y="367"/>
                        <a:pt x="1877" y="367"/>
                        <a:pt x="1877" y="367"/>
                      </a:cubicBezTo>
                      <a:cubicBezTo>
                        <a:pt x="1904" y="367"/>
                        <a:pt x="1927" y="350"/>
                        <a:pt x="1935" y="324"/>
                      </a:cubicBezTo>
                      <a:cubicBezTo>
                        <a:pt x="2010" y="77"/>
                        <a:pt x="2010" y="77"/>
                        <a:pt x="2010" y="77"/>
                      </a:cubicBezTo>
                      <a:cubicBezTo>
                        <a:pt x="2012" y="72"/>
                        <a:pt x="2013" y="66"/>
                        <a:pt x="2013" y="60"/>
                      </a:cubicBezTo>
                      <a:cubicBezTo>
                        <a:pt x="2013" y="47"/>
                        <a:pt x="2009" y="35"/>
                        <a:pt x="2001" y="24"/>
                      </a:cubicBezTo>
                      <a:cubicBezTo>
                        <a:pt x="1990" y="9"/>
                        <a:pt x="1972" y="0"/>
                        <a:pt x="1953" y="0"/>
                      </a:cubicBezTo>
                      <a:lnTo>
                        <a:pt x="13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74" name="Freeform 19"/>
                <p:cNvSpPr/>
                <p:nvPr/>
              </p:nvSpPr>
              <p:spPr bwMode="auto">
                <a:xfrm>
                  <a:off x="3688" y="2980"/>
                  <a:ext cx="48" cy="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321" h="1540">
                      <a:moveTo>
                        <a:pt x="1902" y="0"/>
                      </a:moveTo>
                      <a:cubicBezTo>
                        <a:pt x="1876" y="0"/>
                        <a:pt x="1853" y="17"/>
                        <a:pt x="1845" y="42"/>
                      </a:cubicBezTo>
                      <a:cubicBezTo>
                        <a:pt x="1690" y="553"/>
                        <a:pt x="1690" y="553"/>
                        <a:pt x="1690" y="553"/>
                      </a:cubicBezTo>
                      <a:cubicBezTo>
                        <a:pt x="762" y="553"/>
                        <a:pt x="762" y="553"/>
                        <a:pt x="762" y="553"/>
                      </a:cubicBezTo>
                      <a:cubicBezTo>
                        <a:pt x="907" y="77"/>
                        <a:pt x="907" y="77"/>
                        <a:pt x="907" y="77"/>
                      </a:cubicBezTo>
                      <a:cubicBezTo>
                        <a:pt x="909" y="71"/>
                        <a:pt x="910" y="65"/>
                        <a:pt x="910" y="59"/>
                      </a:cubicBezTo>
                      <a:cubicBezTo>
                        <a:pt x="910" y="47"/>
                        <a:pt x="906" y="34"/>
                        <a:pt x="898" y="24"/>
                      </a:cubicBezTo>
                      <a:cubicBezTo>
                        <a:pt x="887" y="8"/>
                        <a:pt x="869" y="0"/>
                        <a:pt x="850" y="0"/>
                      </a:cubicBezTo>
                      <a:cubicBezTo>
                        <a:pt x="494" y="0"/>
                        <a:pt x="494" y="0"/>
                        <a:pt x="494" y="0"/>
                      </a:cubicBezTo>
                      <a:cubicBezTo>
                        <a:pt x="468" y="0"/>
                        <a:pt x="445" y="17"/>
                        <a:pt x="437" y="42"/>
                      </a:cubicBezTo>
                      <a:cubicBezTo>
                        <a:pt x="5" y="1462"/>
                        <a:pt x="5" y="1462"/>
                        <a:pt x="5" y="1462"/>
                      </a:cubicBezTo>
                      <a:cubicBezTo>
                        <a:pt x="0" y="1481"/>
                        <a:pt x="3" y="1500"/>
                        <a:pt x="15" y="1516"/>
                      </a:cubicBezTo>
                      <a:cubicBezTo>
                        <a:pt x="26" y="1531"/>
                        <a:pt x="43" y="1540"/>
                        <a:pt x="62" y="1540"/>
                      </a:cubicBezTo>
                      <a:cubicBezTo>
                        <a:pt x="418" y="1540"/>
                        <a:pt x="418" y="1540"/>
                        <a:pt x="418" y="1540"/>
                      </a:cubicBezTo>
                      <a:cubicBezTo>
                        <a:pt x="444" y="1540"/>
                        <a:pt x="468" y="1522"/>
                        <a:pt x="475" y="1497"/>
                      </a:cubicBezTo>
                      <a:cubicBezTo>
                        <a:pt x="658" y="895"/>
                        <a:pt x="658" y="895"/>
                        <a:pt x="658" y="895"/>
                      </a:cubicBezTo>
                      <a:cubicBezTo>
                        <a:pt x="1586" y="895"/>
                        <a:pt x="1586" y="895"/>
                        <a:pt x="1586" y="895"/>
                      </a:cubicBezTo>
                      <a:cubicBezTo>
                        <a:pt x="1414" y="1462"/>
                        <a:pt x="1414" y="1462"/>
                        <a:pt x="1414" y="1462"/>
                      </a:cubicBezTo>
                      <a:cubicBezTo>
                        <a:pt x="1412" y="1468"/>
                        <a:pt x="1411" y="1474"/>
                        <a:pt x="1411" y="1480"/>
                      </a:cubicBezTo>
                      <a:cubicBezTo>
                        <a:pt x="1411" y="1492"/>
                        <a:pt x="1415" y="1505"/>
                        <a:pt x="1422" y="1516"/>
                      </a:cubicBezTo>
                      <a:cubicBezTo>
                        <a:pt x="1434" y="1531"/>
                        <a:pt x="1452" y="1540"/>
                        <a:pt x="1470" y="1540"/>
                      </a:cubicBezTo>
                      <a:cubicBezTo>
                        <a:pt x="1826" y="1540"/>
                        <a:pt x="1826" y="1540"/>
                        <a:pt x="1826" y="1540"/>
                      </a:cubicBezTo>
                      <a:cubicBezTo>
                        <a:pt x="1853" y="1540"/>
                        <a:pt x="1875" y="1522"/>
                        <a:pt x="1883" y="1497"/>
                      </a:cubicBezTo>
                      <a:cubicBezTo>
                        <a:pt x="2315" y="77"/>
                        <a:pt x="2315" y="77"/>
                        <a:pt x="2315" y="77"/>
                      </a:cubicBezTo>
                      <a:cubicBezTo>
                        <a:pt x="2321" y="59"/>
                        <a:pt x="2317" y="39"/>
                        <a:pt x="2306" y="24"/>
                      </a:cubicBezTo>
                      <a:cubicBezTo>
                        <a:pt x="2295" y="9"/>
                        <a:pt x="2277" y="0"/>
                        <a:pt x="2258" y="0"/>
                      </a:cubicBezTo>
                      <a:lnTo>
                        <a:pt x="190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75" name="Freeform 20"/>
                <p:cNvSpPr/>
                <p:nvPr/>
              </p:nvSpPr>
              <p:spPr bwMode="auto">
                <a:xfrm>
                  <a:off x="3041" y="2980"/>
                  <a:ext cx="41" cy="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1964" h="1540">
                      <a:moveTo>
                        <a:pt x="495" y="0"/>
                      </a:moveTo>
                      <a:cubicBezTo>
                        <a:pt x="468" y="0"/>
                        <a:pt x="445" y="17"/>
                        <a:pt x="438" y="42"/>
                      </a:cubicBezTo>
                      <a:cubicBezTo>
                        <a:pt x="6" y="1462"/>
                        <a:pt x="6" y="1462"/>
                        <a:pt x="6" y="1462"/>
                      </a:cubicBezTo>
                      <a:cubicBezTo>
                        <a:pt x="0" y="1481"/>
                        <a:pt x="4" y="1500"/>
                        <a:pt x="15" y="1516"/>
                      </a:cubicBezTo>
                      <a:cubicBezTo>
                        <a:pt x="26" y="1531"/>
                        <a:pt x="44" y="1540"/>
                        <a:pt x="62" y="1540"/>
                      </a:cubicBezTo>
                      <a:cubicBezTo>
                        <a:pt x="419" y="1540"/>
                        <a:pt x="419" y="1540"/>
                        <a:pt x="419" y="1540"/>
                      </a:cubicBezTo>
                      <a:cubicBezTo>
                        <a:pt x="445" y="1540"/>
                        <a:pt x="468" y="1523"/>
                        <a:pt x="475" y="1497"/>
                      </a:cubicBezTo>
                      <a:cubicBezTo>
                        <a:pt x="650" y="923"/>
                        <a:pt x="650" y="923"/>
                        <a:pt x="650" y="923"/>
                      </a:cubicBezTo>
                      <a:cubicBezTo>
                        <a:pt x="1603" y="923"/>
                        <a:pt x="1603" y="923"/>
                        <a:pt x="1603" y="923"/>
                      </a:cubicBezTo>
                      <a:cubicBezTo>
                        <a:pt x="1629" y="923"/>
                        <a:pt x="1653" y="906"/>
                        <a:pt x="1660" y="881"/>
                      </a:cubicBezTo>
                      <a:cubicBezTo>
                        <a:pt x="1728" y="658"/>
                        <a:pt x="1728" y="658"/>
                        <a:pt x="1728" y="658"/>
                      </a:cubicBezTo>
                      <a:cubicBezTo>
                        <a:pt x="1730" y="652"/>
                        <a:pt x="1731" y="646"/>
                        <a:pt x="1731" y="641"/>
                      </a:cubicBezTo>
                      <a:cubicBezTo>
                        <a:pt x="1731" y="628"/>
                        <a:pt x="1727" y="616"/>
                        <a:pt x="1719" y="605"/>
                      </a:cubicBezTo>
                      <a:cubicBezTo>
                        <a:pt x="1708" y="590"/>
                        <a:pt x="1690" y="581"/>
                        <a:pt x="1671" y="581"/>
                      </a:cubicBezTo>
                      <a:cubicBezTo>
                        <a:pt x="754" y="581"/>
                        <a:pt x="754" y="581"/>
                        <a:pt x="754" y="581"/>
                      </a:cubicBezTo>
                      <a:cubicBezTo>
                        <a:pt x="827" y="342"/>
                        <a:pt x="827" y="342"/>
                        <a:pt x="827" y="342"/>
                      </a:cubicBezTo>
                      <a:cubicBezTo>
                        <a:pt x="1837" y="342"/>
                        <a:pt x="1837" y="342"/>
                        <a:pt x="1837" y="342"/>
                      </a:cubicBezTo>
                      <a:cubicBezTo>
                        <a:pt x="1863" y="342"/>
                        <a:pt x="1886" y="325"/>
                        <a:pt x="1894" y="300"/>
                      </a:cubicBezTo>
                      <a:cubicBezTo>
                        <a:pt x="1962" y="77"/>
                        <a:pt x="1962" y="77"/>
                        <a:pt x="1962" y="77"/>
                      </a:cubicBezTo>
                      <a:cubicBezTo>
                        <a:pt x="1963" y="71"/>
                        <a:pt x="1964" y="66"/>
                        <a:pt x="1964" y="60"/>
                      </a:cubicBezTo>
                      <a:cubicBezTo>
                        <a:pt x="1964" y="47"/>
                        <a:pt x="1960" y="34"/>
                        <a:pt x="1952" y="24"/>
                      </a:cubicBezTo>
                      <a:cubicBezTo>
                        <a:pt x="1941" y="9"/>
                        <a:pt x="1923" y="0"/>
                        <a:pt x="1905" y="0"/>
                      </a:cubicBezTo>
                      <a:lnTo>
                        <a:pt x="49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76" name="Freeform 21"/>
                <p:cNvSpPr>
                  <a:spLocks noEditPoints="1"/>
                </p:cNvSpPr>
                <p:nvPr/>
              </p:nvSpPr>
              <p:spPr bwMode="auto">
                <a:xfrm>
                  <a:off x="2996" y="2979"/>
                  <a:ext cx="46" cy="33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241" h="1611">
                      <a:moveTo>
                        <a:pt x="66" y="788"/>
                      </a:moveTo>
                      <a:cubicBezTo>
                        <a:pt x="0" y="1006"/>
                        <a:pt x="20" y="1196"/>
                        <a:pt x="126" y="1338"/>
                      </a:cubicBezTo>
                      <a:cubicBezTo>
                        <a:pt x="260" y="1519"/>
                        <a:pt x="518" y="1611"/>
                        <a:pt x="892" y="1611"/>
                      </a:cubicBezTo>
                      <a:cubicBezTo>
                        <a:pt x="1544" y="1611"/>
                        <a:pt x="2024" y="1316"/>
                        <a:pt x="2175" y="823"/>
                      </a:cubicBezTo>
                      <a:cubicBezTo>
                        <a:pt x="2241" y="605"/>
                        <a:pt x="2221" y="415"/>
                        <a:pt x="2115" y="273"/>
                      </a:cubicBezTo>
                      <a:cubicBezTo>
                        <a:pt x="1982" y="92"/>
                        <a:pt x="1723" y="0"/>
                        <a:pt x="1348" y="0"/>
                      </a:cubicBezTo>
                      <a:cubicBezTo>
                        <a:pt x="697" y="0"/>
                        <a:pt x="217" y="295"/>
                        <a:pt x="66" y="788"/>
                      </a:cubicBezTo>
                      <a:close/>
                      <a:moveTo>
                        <a:pt x="576" y="1133"/>
                      </a:moveTo>
                      <a:cubicBezTo>
                        <a:pt x="506" y="1037"/>
                        <a:pt x="523" y="911"/>
                        <a:pt x="550" y="823"/>
                      </a:cubicBezTo>
                      <a:cubicBezTo>
                        <a:pt x="642" y="525"/>
                        <a:pt x="922" y="340"/>
                        <a:pt x="1281" y="340"/>
                      </a:cubicBezTo>
                      <a:cubicBezTo>
                        <a:pt x="1465" y="340"/>
                        <a:pt x="1598" y="388"/>
                        <a:pt x="1665" y="478"/>
                      </a:cubicBezTo>
                      <a:cubicBezTo>
                        <a:pt x="1702" y="528"/>
                        <a:pt x="1714" y="586"/>
                        <a:pt x="1714" y="643"/>
                      </a:cubicBezTo>
                      <a:cubicBezTo>
                        <a:pt x="1714" y="695"/>
                        <a:pt x="1703" y="746"/>
                        <a:pt x="1691" y="788"/>
                      </a:cubicBezTo>
                      <a:cubicBezTo>
                        <a:pt x="1600" y="1086"/>
                        <a:pt x="1320" y="1270"/>
                        <a:pt x="960" y="1270"/>
                      </a:cubicBezTo>
                      <a:cubicBezTo>
                        <a:pt x="776" y="1270"/>
                        <a:pt x="643" y="1223"/>
                        <a:pt x="576" y="113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77" name="Freeform 22"/>
                <p:cNvSpPr/>
                <p:nvPr/>
              </p:nvSpPr>
              <p:spPr bwMode="auto">
                <a:xfrm>
                  <a:off x="3187" y="2980"/>
                  <a:ext cx="41" cy="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026" h="1539">
                      <a:moveTo>
                        <a:pt x="494" y="0"/>
                      </a:moveTo>
                      <a:cubicBezTo>
                        <a:pt x="468" y="0"/>
                        <a:pt x="445" y="17"/>
                        <a:pt x="437" y="42"/>
                      </a:cubicBezTo>
                      <a:cubicBezTo>
                        <a:pt x="6" y="1462"/>
                        <a:pt x="6" y="1462"/>
                        <a:pt x="6" y="1462"/>
                      </a:cubicBezTo>
                      <a:cubicBezTo>
                        <a:pt x="0" y="1480"/>
                        <a:pt x="4" y="1500"/>
                        <a:pt x="14" y="1515"/>
                      </a:cubicBezTo>
                      <a:cubicBezTo>
                        <a:pt x="26" y="1530"/>
                        <a:pt x="44" y="1539"/>
                        <a:pt x="62" y="1539"/>
                      </a:cubicBezTo>
                      <a:cubicBezTo>
                        <a:pt x="1553" y="1539"/>
                        <a:pt x="1553" y="1539"/>
                        <a:pt x="1553" y="1539"/>
                      </a:cubicBezTo>
                      <a:cubicBezTo>
                        <a:pt x="1580" y="1539"/>
                        <a:pt x="1603" y="1522"/>
                        <a:pt x="1610" y="1497"/>
                      </a:cubicBezTo>
                      <a:cubicBezTo>
                        <a:pt x="1678" y="1274"/>
                        <a:pt x="1678" y="1274"/>
                        <a:pt x="1678" y="1274"/>
                      </a:cubicBezTo>
                      <a:cubicBezTo>
                        <a:pt x="1683" y="1256"/>
                        <a:pt x="1680" y="1237"/>
                        <a:pt x="1669" y="1222"/>
                      </a:cubicBezTo>
                      <a:cubicBezTo>
                        <a:pt x="1658" y="1206"/>
                        <a:pt x="1640" y="1197"/>
                        <a:pt x="1621" y="1197"/>
                      </a:cubicBezTo>
                      <a:cubicBezTo>
                        <a:pt x="567" y="1197"/>
                        <a:pt x="567" y="1197"/>
                        <a:pt x="567" y="1197"/>
                      </a:cubicBezTo>
                      <a:cubicBezTo>
                        <a:pt x="650" y="923"/>
                        <a:pt x="650" y="923"/>
                        <a:pt x="650" y="923"/>
                      </a:cubicBezTo>
                      <a:cubicBezTo>
                        <a:pt x="1677" y="923"/>
                        <a:pt x="1677" y="923"/>
                        <a:pt x="1677" y="923"/>
                      </a:cubicBezTo>
                      <a:cubicBezTo>
                        <a:pt x="1703" y="923"/>
                        <a:pt x="1726" y="905"/>
                        <a:pt x="1734" y="880"/>
                      </a:cubicBezTo>
                      <a:cubicBezTo>
                        <a:pt x="1801" y="658"/>
                        <a:pt x="1801" y="658"/>
                        <a:pt x="1801" y="658"/>
                      </a:cubicBezTo>
                      <a:cubicBezTo>
                        <a:pt x="1803" y="652"/>
                        <a:pt x="1804" y="646"/>
                        <a:pt x="1804" y="640"/>
                      </a:cubicBezTo>
                      <a:cubicBezTo>
                        <a:pt x="1804" y="628"/>
                        <a:pt x="1800" y="615"/>
                        <a:pt x="1793" y="605"/>
                      </a:cubicBezTo>
                      <a:cubicBezTo>
                        <a:pt x="1781" y="589"/>
                        <a:pt x="1763" y="580"/>
                        <a:pt x="1745" y="580"/>
                      </a:cubicBezTo>
                      <a:cubicBezTo>
                        <a:pt x="754" y="580"/>
                        <a:pt x="754" y="580"/>
                        <a:pt x="754" y="580"/>
                      </a:cubicBezTo>
                      <a:cubicBezTo>
                        <a:pt x="827" y="342"/>
                        <a:pt x="827" y="342"/>
                        <a:pt x="827" y="342"/>
                      </a:cubicBezTo>
                      <a:cubicBezTo>
                        <a:pt x="1899" y="342"/>
                        <a:pt x="1899" y="342"/>
                        <a:pt x="1899" y="342"/>
                      </a:cubicBezTo>
                      <a:cubicBezTo>
                        <a:pt x="1925" y="342"/>
                        <a:pt x="1948" y="325"/>
                        <a:pt x="1956" y="300"/>
                      </a:cubicBezTo>
                      <a:cubicBezTo>
                        <a:pt x="2023" y="77"/>
                        <a:pt x="2023" y="77"/>
                        <a:pt x="2023" y="77"/>
                      </a:cubicBezTo>
                      <a:cubicBezTo>
                        <a:pt x="2025" y="71"/>
                        <a:pt x="2026" y="65"/>
                        <a:pt x="2026" y="60"/>
                      </a:cubicBezTo>
                      <a:cubicBezTo>
                        <a:pt x="2026" y="47"/>
                        <a:pt x="2022" y="34"/>
                        <a:pt x="2014" y="24"/>
                      </a:cubicBezTo>
                      <a:cubicBezTo>
                        <a:pt x="2003" y="9"/>
                        <a:pt x="1985" y="0"/>
                        <a:pt x="1966" y="0"/>
                      </a:cubicBezTo>
                      <a:lnTo>
                        <a:pt x="49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78" name="Freeform 23"/>
                <p:cNvSpPr/>
                <p:nvPr/>
              </p:nvSpPr>
              <p:spPr bwMode="auto">
                <a:xfrm>
                  <a:off x="3142" y="2980"/>
                  <a:ext cx="48" cy="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320" h="1540">
                      <a:moveTo>
                        <a:pt x="1902" y="0"/>
                      </a:moveTo>
                      <a:cubicBezTo>
                        <a:pt x="1876" y="0"/>
                        <a:pt x="1853" y="17"/>
                        <a:pt x="1845" y="42"/>
                      </a:cubicBezTo>
                      <a:cubicBezTo>
                        <a:pt x="1690" y="553"/>
                        <a:pt x="1690" y="553"/>
                        <a:pt x="1690" y="553"/>
                      </a:cubicBezTo>
                      <a:cubicBezTo>
                        <a:pt x="762" y="553"/>
                        <a:pt x="762" y="553"/>
                        <a:pt x="762" y="553"/>
                      </a:cubicBezTo>
                      <a:cubicBezTo>
                        <a:pt x="907" y="77"/>
                        <a:pt x="907" y="77"/>
                        <a:pt x="907" y="77"/>
                      </a:cubicBezTo>
                      <a:cubicBezTo>
                        <a:pt x="909" y="71"/>
                        <a:pt x="910" y="65"/>
                        <a:pt x="910" y="59"/>
                      </a:cubicBezTo>
                      <a:cubicBezTo>
                        <a:pt x="910" y="47"/>
                        <a:pt x="905" y="34"/>
                        <a:pt x="898" y="24"/>
                      </a:cubicBezTo>
                      <a:cubicBezTo>
                        <a:pt x="887" y="8"/>
                        <a:pt x="869" y="0"/>
                        <a:pt x="850" y="0"/>
                      </a:cubicBezTo>
                      <a:cubicBezTo>
                        <a:pt x="494" y="0"/>
                        <a:pt x="494" y="0"/>
                        <a:pt x="494" y="0"/>
                      </a:cubicBezTo>
                      <a:cubicBezTo>
                        <a:pt x="468" y="0"/>
                        <a:pt x="445" y="17"/>
                        <a:pt x="437" y="42"/>
                      </a:cubicBezTo>
                      <a:cubicBezTo>
                        <a:pt x="5" y="1462"/>
                        <a:pt x="5" y="1462"/>
                        <a:pt x="5" y="1462"/>
                      </a:cubicBezTo>
                      <a:cubicBezTo>
                        <a:pt x="0" y="1481"/>
                        <a:pt x="3" y="1500"/>
                        <a:pt x="14" y="1516"/>
                      </a:cubicBezTo>
                      <a:cubicBezTo>
                        <a:pt x="26" y="1531"/>
                        <a:pt x="43" y="1540"/>
                        <a:pt x="62" y="1540"/>
                      </a:cubicBezTo>
                      <a:cubicBezTo>
                        <a:pt x="418" y="1540"/>
                        <a:pt x="418" y="1540"/>
                        <a:pt x="418" y="1540"/>
                      </a:cubicBezTo>
                      <a:cubicBezTo>
                        <a:pt x="444" y="1540"/>
                        <a:pt x="467" y="1522"/>
                        <a:pt x="475" y="1497"/>
                      </a:cubicBezTo>
                      <a:cubicBezTo>
                        <a:pt x="658" y="895"/>
                        <a:pt x="658" y="895"/>
                        <a:pt x="658" y="895"/>
                      </a:cubicBezTo>
                      <a:cubicBezTo>
                        <a:pt x="1586" y="895"/>
                        <a:pt x="1586" y="895"/>
                        <a:pt x="1586" y="895"/>
                      </a:cubicBezTo>
                      <a:cubicBezTo>
                        <a:pt x="1413" y="1462"/>
                        <a:pt x="1413" y="1462"/>
                        <a:pt x="1413" y="1462"/>
                      </a:cubicBezTo>
                      <a:cubicBezTo>
                        <a:pt x="1412" y="1468"/>
                        <a:pt x="1411" y="1474"/>
                        <a:pt x="1411" y="1480"/>
                      </a:cubicBezTo>
                      <a:cubicBezTo>
                        <a:pt x="1411" y="1492"/>
                        <a:pt x="1415" y="1505"/>
                        <a:pt x="1422" y="1516"/>
                      </a:cubicBezTo>
                      <a:cubicBezTo>
                        <a:pt x="1433" y="1531"/>
                        <a:pt x="1451" y="1540"/>
                        <a:pt x="1470" y="1540"/>
                      </a:cubicBezTo>
                      <a:cubicBezTo>
                        <a:pt x="1826" y="1540"/>
                        <a:pt x="1826" y="1540"/>
                        <a:pt x="1826" y="1540"/>
                      </a:cubicBezTo>
                      <a:cubicBezTo>
                        <a:pt x="1852" y="1540"/>
                        <a:pt x="1875" y="1522"/>
                        <a:pt x="1883" y="1497"/>
                      </a:cubicBezTo>
                      <a:cubicBezTo>
                        <a:pt x="2315" y="77"/>
                        <a:pt x="2315" y="77"/>
                        <a:pt x="2315" y="77"/>
                      </a:cubicBezTo>
                      <a:cubicBezTo>
                        <a:pt x="2320" y="59"/>
                        <a:pt x="2317" y="39"/>
                        <a:pt x="2306" y="24"/>
                      </a:cubicBezTo>
                      <a:cubicBezTo>
                        <a:pt x="2294" y="9"/>
                        <a:pt x="2277" y="0"/>
                        <a:pt x="2258" y="0"/>
                      </a:cubicBezTo>
                      <a:lnTo>
                        <a:pt x="190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79" name="Freeform 24"/>
                <p:cNvSpPr/>
                <p:nvPr/>
              </p:nvSpPr>
              <p:spPr bwMode="auto">
                <a:xfrm>
                  <a:off x="3107" y="2980"/>
                  <a:ext cx="38" cy="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1818" h="1539">
                      <a:moveTo>
                        <a:pt x="130" y="0"/>
                      </a:moveTo>
                      <a:cubicBezTo>
                        <a:pt x="104" y="0"/>
                        <a:pt x="81" y="17"/>
                        <a:pt x="73" y="42"/>
                      </a:cubicBezTo>
                      <a:cubicBezTo>
                        <a:pt x="6" y="265"/>
                        <a:pt x="6" y="265"/>
                        <a:pt x="6" y="265"/>
                      </a:cubicBezTo>
                      <a:cubicBezTo>
                        <a:pt x="0" y="283"/>
                        <a:pt x="4" y="302"/>
                        <a:pt x="15" y="318"/>
                      </a:cubicBezTo>
                      <a:cubicBezTo>
                        <a:pt x="26" y="333"/>
                        <a:pt x="44" y="342"/>
                        <a:pt x="63" y="342"/>
                      </a:cubicBezTo>
                      <a:cubicBezTo>
                        <a:pt x="619" y="342"/>
                        <a:pt x="619" y="342"/>
                        <a:pt x="619" y="342"/>
                      </a:cubicBezTo>
                      <a:cubicBezTo>
                        <a:pt x="278" y="1462"/>
                        <a:pt x="278" y="1462"/>
                        <a:pt x="278" y="1462"/>
                      </a:cubicBezTo>
                      <a:cubicBezTo>
                        <a:pt x="276" y="1468"/>
                        <a:pt x="275" y="1474"/>
                        <a:pt x="275" y="1480"/>
                      </a:cubicBezTo>
                      <a:cubicBezTo>
                        <a:pt x="275" y="1492"/>
                        <a:pt x="279" y="1505"/>
                        <a:pt x="287" y="1515"/>
                      </a:cubicBezTo>
                      <a:cubicBezTo>
                        <a:pt x="298" y="1530"/>
                        <a:pt x="316" y="1539"/>
                        <a:pt x="334" y="1539"/>
                      </a:cubicBezTo>
                      <a:cubicBezTo>
                        <a:pt x="691" y="1539"/>
                        <a:pt x="691" y="1539"/>
                        <a:pt x="691" y="1539"/>
                      </a:cubicBezTo>
                      <a:cubicBezTo>
                        <a:pt x="717" y="1539"/>
                        <a:pt x="740" y="1522"/>
                        <a:pt x="747" y="1497"/>
                      </a:cubicBezTo>
                      <a:cubicBezTo>
                        <a:pt x="1099" y="342"/>
                        <a:pt x="1099" y="342"/>
                        <a:pt x="1099" y="342"/>
                      </a:cubicBezTo>
                      <a:cubicBezTo>
                        <a:pt x="1691" y="342"/>
                        <a:pt x="1691" y="342"/>
                        <a:pt x="1691" y="342"/>
                      </a:cubicBezTo>
                      <a:cubicBezTo>
                        <a:pt x="1717" y="342"/>
                        <a:pt x="1740" y="325"/>
                        <a:pt x="1748" y="300"/>
                      </a:cubicBezTo>
                      <a:cubicBezTo>
                        <a:pt x="1816" y="77"/>
                        <a:pt x="1816" y="77"/>
                        <a:pt x="1816" y="77"/>
                      </a:cubicBezTo>
                      <a:cubicBezTo>
                        <a:pt x="1818" y="71"/>
                        <a:pt x="1818" y="65"/>
                        <a:pt x="1818" y="60"/>
                      </a:cubicBezTo>
                      <a:cubicBezTo>
                        <a:pt x="1818" y="47"/>
                        <a:pt x="1814" y="34"/>
                        <a:pt x="1807" y="24"/>
                      </a:cubicBezTo>
                      <a:cubicBezTo>
                        <a:pt x="1795" y="9"/>
                        <a:pt x="1778" y="0"/>
                        <a:pt x="1759" y="0"/>
                      </a:cubicBezTo>
                      <a:lnTo>
                        <a:pt x="13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80" name="Freeform 25"/>
                <p:cNvSpPr/>
                <p:nvPr/>
              </p:nvSpPr>
              <p:spPr bwMode="auto">
                <a:xfrm>
                  <a:off x="2682" y="2980"/>
                  <a:ext cx="41" cy="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026" h="1540">
                      <a:moveTo>
                        <a:pt x="494" y="0"/>
                      </a:moveTo>
                      <a:cubicBezTo>
                        <a:pt x="468" y="0"/>
                        <a:pt x="445" y="17"/>
                        <a:pt x="437" y="42"/>
                      </a:cubicBezTo>
                      <a:cubicBezTo>
                        <a:pt x="5" y="1463"/>
                        <a:pt x="5" y="1463"/>
                        <a:pt x="5" y="1463"/>
                      </a:cubicBezTo>
                      <a:cubicBezTo>
                        <a:pt x="0" y="1481"/>
                        <a:pt x="4" y="1500"/>
                        <a:pt x="14" y="1515"/>
                      </a:cubicBezTo>
                      <a:cubicBezTo>
                        <a:pt x="26" y="1531"/>
                        <a:pt x="43" y="1540"/>
                        <a:pt x="62" y="1540"/>
                      </a:cubicBezTo>
                      <a:cubicBezTo>
                        <a:pt x="1553" y="1540"/>
                        <a:pt x="1553" y="1540"/>
                        <a:pt x="1553" y="1540"/>
                      </a:cubicBezTo>
                      <a:cubicBezTo>
                        <a:pt x="1580" y="1540"/>
                        <a:pt x="1602" y="1523"/>
                        <a:pt x="1610" y="1498"/>
                      </a:cubicBezTo>
                      <a:cubicBezTo>
                        <a:pt x="1678" y="1274"/>
                        <a:pt x="1678" y="1274"/>
                        <a:pt x="1678" y="1274"/>
                      </a:cubicBezTo>
                      <a:cubicBezTo>
                        <a:pt x="1683" y="1257"/>
                        <a:pt x="1680" y="1237"/>
                        <a:pt x="1669" y="1222"/>
                      </a:cubicBezTo>
                      <a:cubicBezTo>
                        <a:pt x="1658" y="1206"/>
                        <a:pt x="1640" y="1198"/>
                        <a:pt x="1621" y="1198"/>
                      </a:cubicBezTo>
                      <a:cubicBezTo>
                        <a:pt x="567" y="1198"/>
                        <a:pt x="567" y="1198"/>
                        <a:pt x="567" y="1198"/>
                      </a:cubicBezTo>
                      <a:cubicBezTo>
                        <a:pt x="650" y="923"/>
                        <a:pt x="650" y="923"/>
                        <a:pt x="650" y="923"/>
                      </a:cubicBezTo>
                      <a:cubicBezTo>
                        <a:pt x="1677" y="923"/>
                        <a:pt x="1677" y="923"/>
                        <a:pt x="1677" y="923"/>
                      </a:cubicBezTo>
                      <a:cubicBezTo>
                        <a:pt x="1703" y="923"/>
                        <a:pt x="1726" y="906"/>
                        <a:pt x="1733" y="881"/>
                      </a:cubicBezTo>
                      <a:cubicBezTo>
                        <a:pt x="1801" y="658"/>
                        <a:pt x="1801" y="658"/>
                        <a:pt x="1801" y="658"/>
                      </a:cubicBezTo>
                      <a:cubicBezTo>
                        <a:pt x="1803" y="652"/>
                        <a:pt x="1804" y="646"/>
                        <a:pt x="1804" y="641"/>
                      </a:cubicBezTo>
                      <a:cubicBezTo>
                        <a:pt x="1804" y="628"/>
                        <a:pt x="1800" y="616"/>
                        <a:pt x="1792" y="605"/>
                      </a:cubicBezTo>
                      <a:cubicBezTo>
                        <a:pt x="1781" y="590"/>
                        <a:pt x="1763" y="581"/>
                        <a:pt x="1745" y="581"/>
                      </a:cubicBezTo>
                      <a:cubicBezTo>
                        <a:pt x="754" y="581"/>
                        <a:pt x="754" y="581"/>
                        <a:pt x="754" y="581"/>
                      </a:cubicBezTo>
                      <a:cubicBezTo>
                        <a:pt x="827" y="342"/>
                        <a:pt x="827" y="342"/>
                        <a:pt x="827" y="342"/>
                      </a:cubicBezTo>
                      <a:cubicBezTo>
                        <a:pt x="1899" y="342"/>
                        <a:pt x="1899" y="342"/>
                        <a:pt x="1899" y="342"/>
                      </a:cubicBezTo>
                      <a:cubicBezTo>
                        <a:pt x="1925" y="342"/>
                        <a:pt x="1948" y="325"/>
                        <a:pt x="1956" y="300"/>
                      </a:cubicBezTo>
                      <a:cubicBezTo>
                        <a:pt x="2023" y="77"/>
                        <a:pt x="2023" y="77"/>
                        <a:pt x="2023" y="77"/>
                      </a:cubicBezTo>
                      <a:cubicBezTo>
                        <a:pt x="2025" y="71"/>
                        <a:pt x="2026" y="66"/>
                        <a:pt x="2026" y="60"/>
                      </a:cubicBezTo>
                      <a:cubicBezTo>
                        <a:pt x="2026" y="47"/>
                        <a:pt x="2022" y="34"/>
                        <a:pt x="2014" y="24"/>
                      </a:cubicBezTo>
                      <a:cubicBezTo>
                        <a:pt x="2003" y="9"/>
                        <a:pt x="1985" y="0"/>
                        <a:pt x="1966" y="0"/>
                      </a:cubicBezTo>
                      <a:lnTo>
                        <a:pt x="49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81" name="Freeform 26"/>
                <p:cNvSpPr/>
                <p:nvPr/>
              </p:nvSpPr>
              <p:spPr bwMode="auto">
                <a:xfrm>
                  <a:off x="2637" y="2980"/>
                  <a:ext cx="48" cy="32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320" h="1540">
                      <a:moveTo>
                        <a:pt x="1902" y="0"/>
                      </a:moveTo>
                      <a:cubicBezTo>
                        <a:pt x="1876" y="0"/>
                        <a:pt x="1853" y="17"/>
                        <a:pt x="1845" y="42"/>
                      </a:cubicBezTo>
                      <a:cubicBezTo>
                        <a:pt x="1690" y="553"/>
                        <a:pt x="1690" y="553"/>
                        <a:pt x="1690" y="553"/>
                      </a:cubicBezTo>
                      <a:cubicBezTo>
                        <a:pt x="762" y="553"/>
                        <a:pt x="762" y="553"/>
                        <a:pt x="762" y="553"/>
                      </a:cubicBezTo>
                      <a:cubicBezTo>
                        <a:pt x="907" y="77"/>
                        <a:pt x="907" y="77"/>
                        <a:pt x="907" y="77"/>
                      </a:cubicBezTo>
                      <a:cubicBezTo>
                        <a:pt x="909" y="71"/>
                        <a:pt x="909" y="65"/>
                        <a:pt x="909" y="59"/>
                      </a:cubicBezTo>
                      <a:cubicBezTo>
                        <a:pt x="909" y="47"/>
                        <a:pt x="905" y="34"/>
                        <a:pt x="898" y="24"/>
                      </a:cubicBezTo>
                      <a:cubicBezTo>
                        <a:pt x="887" y="8"/>
                        <a:pt x="869" y="0"/>
                        <a:pt x="850" y="0"/>
                      </a:cubicBezTo>
                      <a:cubicBezTo>
                        <a:pt x="494" y="0"/>
                        <a:pt x="494" y="0"/>
                        <a:pt x="494" y="0"/>
                      </a:cubicBezTo>
                      <a:cubicBezTo>
                        <a:pt x="468" y="0"/>
                        <a:pt x="445" y="17"/>
                        <a:pt x="437" y="42"/>
                      </a:cubicBezTo>
                      <a:cubicBezTo>
                        <a:pt x="5" y="1462"/>
                        <a:pt x="5" y="1462"/>
                        <a:pt x="5" y="1462"/>
                      </a:cubicBezTo>
                      <a:cubicBezTo>
                        <a:pt x="0" y="1481"/>
                        <a:pt x="3" y="1500"/>
                        <a:pt x="14" y="1516"/>
                      </a:cubicBezTo>
                      <a:cubicBezTo>
                        <a:pt x="26" y="1531"/>
                        <a:pt x="43" y="1540"/>
                        <a:pt x="62" y="1540"/>
                      </a:cubicBezTo>
                      <a:cubicBezTo>
                        <a:pt x="418" y="1540"/>
                        <a:pt x="418" y="1540"/>
                        <a:pt x="418" y="1540"/>
                      </a:cubicBezTo>
                      <a:cubicBezTo>
                        <a:pt x="444" y="1540"/>
                        <a:pt x="467" y="1522"/>
                        <a:pt x="475" y="1497"/>
                      </a:cubicBezTo>
                      <a:cubicBezTo>
                        <a:pt x="658" y="895"/>
                        <a:pt x="658" y="895"/>
                        <a:pt x="658" y="895"/>
                      </a:cubicBezTo>
                      <a:cubicBezTo>
                        <a:pt x="1586" y="895"/>
                        <a:pt x="1586" y="895"/>
                        <a:pt x="1586" y="895"/>
                      </a:cubicBezTo>
                      <a:cubicBezTo>
                        <a:pt x="1413" y="1462"/>
                        <a:pt x="1413" y="1462"/>
                        <a:pt x="1413" y="1462"/>
                      </a:cubicBezTo>
                      <a:cubicBezTo>
                        <a:pt x="1411" y="1468"/>
                        <a:pt x="1411" y="1474"/>
                        <a:pt x="1411" y="1480"/>
                      </a:cubicBezTo>
                      <a:cubicBezTo>
                        <a:pt x="1411" y="1492"/>
                        <a:pt x="1415" y="1505"/>
                        <a:pt x="1422" y="1516"/>
                      </a:cubicBezTo>
                      <a:cubicBezTo>
                        <a:pt x="1433" y="1531"/>
                        <a:pt x="1451" y="1540"/>
                        <a:pt x="1470" y="1540"/>
                      </a:cubicBezTo>
                      <a:cubicBezTo>
                        <a:pt x="1826" y="1540"/>
                        <a:pt x="1826" y="1540"/>
                        <a:pt x="1826" y="1540"/>
                      </a:cubicBezTo>
                      <a:cubicBezTo>
                        <a:pt x="1852" y="1540"/>
                        <a:pt x="1875" y="1522"/>
                        <a:pt x="1883" y="1497"/>
                      </a:cubicBezTo>
                      <a:cubicBezTo>
                        <a:pt x="2315" y="77"/>
                        <a:pt x="2315" y="77"/>
                        <a:pt x="2315" y="77"/>
                      </a:cubicBezTo>
                      <a:cubicBezTo>
                        <a:pt x="2320" y="59"/>
                        <a:pt x="2317" y="39"/>
                        <a:pt x="2306" y="24"/>
                      </a:cubicBezTo>
                      <a:cubicBezTo>
                        <a:pt x="2294" y="9"/>
                        <a:pt x="2277" y="0"/>
                        <a:pt x="2258" y="0"/>
                      </a:cubicBezTo>
                      <a:lnTo>
                        <a:pt x="190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  <p:sp>
              <p:nvSpPr>
                <p:cNvPr id="82" name="Freeform 27"/>
                <p:cNvSpPr/>
                <p:nvPr/>
              </p:nvSpPr>
              <p:spPr bwMode="auto">
                <a:xfrm>
                  <a:off x="2600" y="2977"/>
                  <a:ext cx="41" cy="35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2013" h="1694">
                      <a:moveTo>
                        <a:pt x="139" y="0"/>
                      </a:moveTo>
                      <a:cubicBezTo>
                        <a:pt x="112" y="0"/>
                        <a:pt x="89" y="17"/>
                        <a:pt x="81" y="43"/>
                      </a:cubicBezTo>
                      <a:cubicBezTo>
                        <a:pt x="6" y="289"/>
                        <a:pt x="6" y="289"/>
                        <a:pt x="6" y="289"/>
                      </a:cubicBezTo>
                      <a:cubicBezTo>
                        <a:pt x="0" y="307"/>
                        <a:pt x="3" y="327"/>
                        <a:pt x="15" y="343"/>
                      </a:cubicBezTo>
                      <a:cubicBezTo>
                        <a:pt x="26" y="358"/>
                        <a:pt x="44" y="367"/>
                        <a:pt x="63" y="367"/>
                      </a:cubicBezTo>
                      <a:cubicBezTo>
                        <a:pt x="691" y="367"/>
                        <a:pt x="691" y="367"/>
                        <a:pt x="691" y="367"/>
                      </a:cubicBezTo>
                      <a:cubicBezTo>
                        <a:pt x="309" y="1616"/>
                        <a:pt x="309" y="1616"/>
                        <a:pt x="309" y="1616"/>
                      </a:cubicBezTo>
                      <a:cubicBezTo>
                        <a:pt x="307" y="1622"/>
                        <a:pt x="306" y="1627"/>
                        <a:pt x="306" y="1634"/>
                      </a:cubicBezTo>
                      <a:cubicBezTo>
                        <a:pt x="306" y="1646"/>
                        <a:pt x="310" y="1659"/>
                        <a:pt x="318" y="1669"/>
                      </a:cubicBezTo>
                      <a:cubicBezTo>
                        <a:pt x="329" y="1685"/>
                        <a:pt x="347" y="1694"/>
                        <a:pt x="366" y="1694"/>
                      </a:cubicBezTo>
                      <a:cubicBezTo>
                        <a:pt x="763" y="1694"/>
                        <a:pt x="763" y="1694"/>
                        <a:pt x="763" y="1694"/>
                      </a:cubicBezTo>
                      <a:cubicBezTo>
                        <a:pt x="789" y="1694"/>
                        <a:pt x="813" y="1677"/>
                        <a:pt x="820" y="1651"/>
                      </a:cubicBezTo>
                      <a:cubicBezTo>
                        <a:pt x="1213" y="367"/>
                        <a:pt x="1213" y="367"/>
                        <a:pt x="1213" y="367"/>
                      </a:cubicBezTo>
                      <a:cubicBezTo>
                        <a:pt x="1877" y="367"/>
                        <a:pt x="1877" y="367"/>
                        <a:pt x="1877" y="367"/>
                      </a:cubicBezTo>
                      <a:cubicBezTo>
                        <a:pt x="1904" y="367"/>
                        <a:pt x="1927" y="350"/>
                        <a:pt x="1935" y="324"/>
                      </a:cubicBezTo>
                      <a:cubicBezTo>
                        <a:pt x="2010" y="77"/>
                        <a:pt x="2010" y="77"/>
                        <a:pt x="2010" y="77"/>
                      </a:cubicBezTo>
                      <a:cubicBezTo>
                        <a:pt x="2012" y="72"/>
                        <a:pt x="2013" y="66"/>
                        <a:pt x="2013" y="60"/>
                      </a:cubicBezTo>
                      <a:cubicBezTo>
                        <a:pt x="2013" y="47"/>
                        <a:pt x="2009" y="34"/>
                        <a:pt x="2001" y="24"/>
                      </a:cubicBezTo>
                      <a:cubicBezTo>
                        <a:pt x="1990" y="9"/>
                        <a:pt x="1972" y="0"/>
                        <a:pt x="1953" y="0"/>
                      </a:cubicBezTo>
                      <a:lnTo>
                        <a:pt x="1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</p:sp>
          </p:grpSp>
        </p:grpSp>
      </p:grpSp>
      <p:sp>
        <p:nvSpPr>
          <p:cNvPr id="51" name="Titel 1"/>
          <p:cNvSpPr>
            <a:spLocks noGrp="1"/>
          </p:cNvSpPr>
          <p:nvPr>
            <p:ph type="title"/>
          </p:nvPr>
        </p:nvSpPr>
        <p:spPr>
          <a:xfrm>
            <a:off x="470400" y="0"/>
            <a:ext cx="10939200" cy="72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008163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err="1"/>
              <a:t>Klik</a:t>
            </a:r>
            <a:r>
              <a:rPr lang="en-GB" noProof="0" dirty="0"/>
              <a:t> for at </a:t>
            </a:r>
            <a:r>
              <a:rPr lang="en-GB" noProof="0" dirty="0" err="1"/>
              <a:t>redigere</a:t>
            </a:r>
            <a:r>
              <a:rPr lang="en-GB" noProof="0" dirty="0"/>
              <a:t>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dirty="0" err="1"/>
              <a:t>Klik</a:t>
            </a:r>
            <a:r>
              <a:rPr lang="en-GB" noProof="0" dirty="0"/>
              <a:t> for at </a:t>
            </a:r>
            <a:r>
              <a:rPr lang="en-GB" noProof="0" dirty="0" err="1"/>
              <a:t>redigere</a:t>
            </a:r>
            <a:r>
              <a:rPr lang="en-GB" noProof="0" dirty="0"/>
              <a:t> i master</a:t>
            </a:r>
          </a:p>
          <a:p>
            <a:pPr lvl="1"/>
            <a:r>
              <a:rPr lang="en-GB" noProof="0" dirty="0" err="1"/>
              <a:t>Andet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edj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3"/>
            <a:r>
              <a:rPr lang="en-GB" noProof="0" dirty="0" err="1"/>
              <a:t>Fjerd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4"/>
            <a:r>
              <a:rPr lang="en-GB" noProof="0" dirty="0" err="1"/>
              <a:t>Femt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6C91A-EAB6-4F46-8C14-F2D13CE33EB4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cxnSp>
        <p:nvCxnSpPr>
          <p:cNvPr id="7" name="Lige forbindelse 6"/>
          <p:cNvCxnSpPr/>
          <p:nvPr userDrawn="1"/>
        </p:nvCxnSpPr>
        <p:spPr>
          <a:xfrm>
            <a:off x="-48000" y="726604"/>
            <a:ext cx="1228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866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70400" y="0"/>
            <a:ext cx="10939200" cy="727200"/>
          </a:xfrm>
        </p:spPr>
        <p:txBody>
          <a:bodyPr>
            <a:normAutofit/>
          </a:bodyPr>
          <a:lstStyle>
            <a:lvl1pPr>
              <a:defRPr sz="2400" b="1" i="0" cap="all" baseline="0">
                <a:latin typeface="Arial fed" charset="0"/>
                <a:ea typeface="Arial fed" charset="0"/>
                <a:cs typeface="Arial fed" charset="0"/>
              </a:defRPr>
            </a:lvl1pPr>
          </a:lstStyle>
          <a:p>
            <a:r>
              <a:rPr lang="da-DK" noProof="0" dirty="0"/>
              <a:t>KLIK FOR AT REDIGERE I MASTER</a:t>
            </a:r>
            <a:endParaRPr lang="en-US" noProof="0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0" y="6505200"/>
            <a:ext cx="12192000" cy="352800"/>
          </a:xfrm>
        </p:spPr>
        <p:txBody>
          <a:bodyPr/>
          <a:lstStyle/>
          <a:p>
            <a:fld id="{BCE6C91A-EAB6-4F46-8C14-F2D13CE33EB4}" type="slidenum">
              <a:rPr lang="en-US" noProof="0" smtClean="0"/>
              <a:t>‹#›</a:t>
            </a:fld>
            <a:endParaRPr lang="en-US" noProof="0" dirty="0"/>
          </a:p>
        </p:txBody>
      </p:sp>
      <p:cxnSp>
        <p:nvCxnSpPr>
          <p:cNvPr id="5" name="Lige forbindelse 12"/>
          <p:cNvCxnSpPr/>
          <p:nvPr userDrawn="1"/>
        </p:nvCxnSpPr>
        <p:spPr>
          <a:xfrm>
            <a:off x="0" y="726604"/>
            <a:ext cx="121932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32005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390524" y="1162050"/>
            <a:ext cx="11439525" cy="53632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574772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70400" y="1173600"/>
            <a:ext cx="10939200" cy="4802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noProof="0"/>
            </a:lvl1pPr>
            <a:lvl2pPr>
              <a:defRPr lang="en-US" noProof="0"/>
            </a:lvl2pPr>
            <a:lvl3pPr>
              <a:defRPr lang="en-US" noProof="0"/>
            </a:lvl3pPr>
            <a:lvl4pPr>
              <a:defRPr lang="en-US" noProof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0" y="6505200"/>
            <a:ext cx="12192000" cy="352800"/>
          </a:xfrm>
          <a:prstGeom prst="rect">
            <a:avLst/>
          </a:prstGeom>
        </p:spPr>
        <p:txBody>
          <a:bodyPr/>
          <a:lstStyle/>
          <a:p>
            <a:fld id="{D0CCBA95-4DAD-4E83-B643-3F4D87FBCF54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7" name="Lige forbindelse 6"/>
          <p:cNvCxnSpPr/>
          <p:nvPr/>
        </p:nvCxnSpPr>
        <p:spPr>
          <a:xfrm>
            <a:off x="0" y="726604"/>
            <a:ext cx="121932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81546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 algn="ctr"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grpSp>
        <p:nvGrpSpPr>
          <p:cNvPr id="3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4" name="Rectangle 3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 dirty="0">
                <a:solidFill>
                  <a:srgbClr val="FFFFFF"/>
                </a:solidFill>
              </a:endParaRPr>
            </a:p>
          </p:txBody>
        </p:sp>
        <p:grpSp>
          <p:nvGrpSpPr>
            <p:cNvPr id="5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14" name="Straight Connector 13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altLang="en-US" sz="800" dirty="0">
                  <a:solidFill>
                    <a:srgbClr val="A6A6A6"/>
                  </a:solidFill>
                </a:rPr>
                <a:t>1/6</a:t>
              </a:r>
            </a:p>
          </p:txBody>
        </p:sp>
        <p:sp>
          <p:nvSpPr>
            <p:cNvPr id="8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altLang="en-US" sz="800" dirty="0">
                  <a:solidFill>
                    <a:srgbClr val="A6A6A6"/>
                  </a:solidFill>
                </a:rPr>
                <a:t>2/6</a:t>
              </a:r>
            </a:p>
          </p:txBody>
        </p:sp>
        <p:sp>
          <p:nvSpPr>
            <p:cNvPr id="9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altLang="en-US" sz="800" dirty="0">
                  <a:solidFill>
                    <a:srgbClr val="A6A6A6"/>
                  </a:solidFill>
                </a:rPr>
                <a:t>4/6</a:t>
              </a:r>
            </a:p>
          </p:txBody>
        </p:sp>
        <p:sp>
          <p:nvSpPr>
            <p:cNvPr id="10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altLang="en-US" sz="800" dirty="0">
                  <a:solidFill>
                    <a:srgbClr val="A6A6A6"/>
                  </a:solidFill>
                </a:rPr>
                <a:t>5/6</a:t>
              </a:r>
            </a:p>
          </p:txBody>
        </p:sp>
        <p:sp>
          <p:nvSpPr>
            <p:cNvPr id="11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altLang="en-US" sz="800" dirty="0">
                  <a:solidFill>
                    <a:srgbClr val="A6A6A6"/>
                  </a:solidFill>
                </a:rPr>
                <a:t>1/4</a:t>
              </a:r>
            </a:p>
          </p:txBody>
        </p:sp>
        <p:sp>
          <p:nvSpPr>
            <p:cNvPr id="12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altLang="en-US" sz="800" dirty="0">
                  <a:solidFill>
                    <a:srgbClr val="A6A6A6"/>
                  </a:solidFill>
                </a:rPr>
                <a:t>3/4</a:t>
              </a:r>
            </a:p>
          </p:txBody>
        </p:sp>
        <p:sp>
          <p:nvSpPr>
            <p:cNvPr id="13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altLang="en-US" sz="800" dirty="0">
                  <a:solidFill>
                    <a:srgbClr val="A6A6A6"/>
                  </a:solidFill>
                </a:rPr>
                <a:t>1/2</a:t>
              </a:r>
            </a:p>
          </p:txBody>
        </p:sp>
      </p:grpSp>
      <p:grpSp>
        <p:nvGrpSpPr>
          <p:cNvPr id="24" name="Group 23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25" name="Rectangle 24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 dirty="0">
                <a:solidFill>
                  <a:srgbClr val="FFFFFF"/>
                </a:solidFill>
              </a:endParaRPr>
            </a:p>
          </p:txBody>
        </p:sp>
        <p:cxnSp>
          <p:nvCxnSpPr>
            <p:cNvPr id="26" name="Straight Connector 25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2490804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4514893"/>
      </p:ext>
    </p:extLst>
  </p:cSld>
  <p:clrMapOvr>
    <a:masterClrMapping/>
  </p:clrMapOvr>
  <p:transition spd="med">
    <p:fade thruBlk="1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, subtitle and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2913" y="0"/>
            <a:ext cx="11306175" cy="727200"/>
          </a:xfrm>
          <a:prstGeom prst="rect">
            <a:avLst/>
          </a:prstGeom>
        </p:spPr>
        <p:txBody>
          <a:bodyPr anchor="ctr"/>
          <a:lstStyle/>
          <a:p>
            <a:r>
              <a:rPr lang="en-GB" noProof="0" dirty="0"/>
              <a:t>Click to edit Master title style</a:t>
            </a:r>
          </a:p>
        </p:txBody>
      </p:sp>
      <p:cxnSp>
        <p:nvCxnSpPr>
          <p:cNvPr id="7" name="Lige forbindelse 6"/>
          <p:cNvCxnSpPr/>
          <p:nvPr/>
        </p:nvCxnSpPr>
        <p:spPr>
          <a:xfrm>
            <a:off x="0" y="726604"/>
            <a:ext cx="121932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42913" y="827360"/>
            <a:ext cx="11306173" cy="2644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 noProof="0" dirty="0"/>
              <a:t>Click to add sub-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913" y="1268413"/>
            <a:ext cx="11306173" cy="4321175"/>
          </a:xfrm>
          <a:prstGeom prst="rect">
            <a:avLst/>
          </a:prstGeom>
        </p:spPr>
        <p:txBody>
          <a:bodyPr>
            <a:normAutofit/>
          </a:bodyPr>
          <a:lstStyle>
            <a:lvl1pPr marL="179388" indent="-179388"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GB" noProof="0" dirty="0"/>
              <a:t>Click to add body text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5736015" y="6505200"/>
            <a:ext cx="720001" cy="352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CE6C91A-EAB6-4F46-8C14-F2D13CE33EB4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6348414" y="6504605"/>
            <a:ext cx="4624390" cy="35339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80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footer text</a:t>
            </a:r>
          </a:p>
        </p:txBody>
      </p:sp>
    </p:spTree>
    <p:extLst>
      <p:ext uri="{BB962C8B-B14F-4D97-AF65-F5344CB8AC3E}">
        <p14:creationId xmlns:p14="http://schemas.microsoft.com/office/powerpoint/2010/main" val="35072610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 dirty="0"/>
              <a:t>Klik for at redigere i master</a:t>
            </a:r>
            <a:endParaRPr lang="en-US" noProof="0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70400" y="1138486"/>
            <a:ext cx="10939200" cy="4802400"/>
          </a:xfrm>
        </p:spPr>
        <p:txBody>
          <a:bodyPr/>
          <a:lstStyle>
            <a:lvl1pPr marL="270000" indent="-270000">
              <a:defRPr lang="da-DK" sz="240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79300" indent="-342900">
              <a:defRPr lang="da-DK" sz="200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68550" indent="-285750">
              <a:defRPr lang="da-DK" sz="180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25750" indent="-285750">
              <a:defRPr lang="da-DK" sz="1800" kern="120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168550" indent="-285750">
              <a:defRPr lang="en-US" sz="180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360000" lvl="0" indent="-360000" algn="l" defTabSz="514350" rtl="0" eaLnBrk="1" latinLnBrk="0" hangingPunct="1">
              <a:spcBef>
                <a:spcPts val="1440"/>
              </a:spcBef>
              <a:buFontTx/>
              <a:buBlip>
                <a:blip r:embed="rId2"/>
              </a:buBlip>
            </a:pPr>
            <a:r>
              <a:rPr lang="da-DK" noProof="0" dirty="0"/>
              <a:t>Klik for at redigere i master</a:t>
            </a:r>
          </a:p>
          <a:p>
            <a:pPr marL="360000" lvl="1" indent="-360000" algn="l" defTabSz="514350" rtl="0" eaLnBrk="1" latinLnBrk="0" hangingPunct="1">
              <a:spcBef>
                <a:spcPts val="1440"/>
              </a:spcBef>
              <a:buFontTx/>
              <a:buBlip>
                <a:blip r:embed="rId2"/>
              </a:buBlip>
            </a:pPr>
            <a:r>
              <a:rPr lang="da-DK" noProof="0" dirty="0"/>
              <a:t>Andet niveau</a:t>
            </a:r>
          </a:p>
          <a:p>
            <a:pPr marL="360000" lvl="2" indent="-360000" algn="l" defTabSz="514350" rtl="0" eaLnBrk="1" latinLnBrk="0" hangingPunct="1">
              <a:spcBef>
                <a:spcPts val="1440"/>
              </a:spcBef>
              <a:buFontTx/>
              <a:buBlip>
                <a:blip r:embed="rId2"/>
              </a:buBlip>
            </a:pPr>
            <a:r>
              <a:rPr lang="da-DK" noProof="0" dirty="0"/>
              <a:t>Tredje niveau</a:t>
            </a:r>
          </a:p>
          <a:p>
            <a:pPr marL="360000" lvl="3" indent="-360000" algn="l" defTabSz="514350" rtl="0" eaLnBrk="1" latinLnBrk="0" hangingPunct="1">
              <a:spcBef>
                <a:spcPts val="1440"/>
              </a:spcBef>
              <a:buFontTx/>
              <a:buBlip>
                <a:blip r:embed="rId2"/>
              </a:buBlip>
            </a:pPr>
            <a:r>
              <a:rPr lang="da-DK" noProof="0" dirty="0"/>
              <a:t>Fjerde niveau</a:t>
            </a:r>
          </a:p>
          <a:p>
            <a:pPr marL="360000" lvl="4" indent="-360000" algn="l" defTabSz="514350" rtl="0" eaLnBrk="1" latinLnBrk="0" hangingPunct="1">
              <a:spcBef>
                <a:spcPts val="1440"/>
              </a:spcBef>
              <a:buFontTx/>
              <a:buBlip>
                <a:blip r:embed="rId2"/>
              </a:buBlip>
            </a:pPr>
            <a:r>
              <a:rPr lang="da-DK" noProof="0" dirty="0"/>
              <a:t>Femte niveau</a:t>
            </a:r>
            <a:endParaRPr lang="en-US" noProof="0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6C91A-EAB6-4F46-8C14-F2D13CE33EB4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1477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ctrTitle"/>
          </p:nvPr>
        </p:nvSpPr>
        <p:spPr>
          <a:xfrm>
            <a:off x="499200" y="3974400"/>
            <a:ext cx="11227200" cy="5328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Undertitel 2"/>
          <p:cNvSpPr>
            <a:spLocks noGrp="1"/>
          </p:cNvSpPr>
          <p:nvPr>
            <p:ph type="subTitle" idx="1"/>
          </p:nvPr>
        </p:nvSpPr>
        <p:spPr>
          <a:xfrm>
            <a:off x="1502400" y="4694400"/>
            <a:ext cx="9244800" cy="698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FBB75-0AF5-4EA0-8740-8BC296E4BC83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8386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70400" y="1173600"/>
            <a:ext cx="5366400" cy="4802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noProof="0"/>
            </a:lvl1pPr>
            <a:lvl2pPr>
              <a:defRPr lang="en-US" noProof="0"/>
            </a:lvl2pPr>
            <a:lvl3pPr>
              <a:defRPr lang="en-US" noProof="0"/>
            </a:lvl3pPr>
            <a:lvl4pPr>
              <a:defRPr lang="en-US" noProof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038400" y="1173600"/>
            <a:ext cx="5366400" cy="4802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noProof="0"/>
            </a:lvl1pPr>
            <a:lvl2pPr>
              <a:defRPr lang="en-US" noProof="0"/>
            </a:lvl2pPr>
            <a:lvl3pPr>
              <a:defRPr lang="en-US" noProof="0"/>
            </a:lvl3pPr>
            <a:lvl4pPr>
              <a:defRPr lang="en-US" noProof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>
          <a:xfrm>
            <a:off x="0" y="6505200"/>
            <a:ext cx="12192000" cy="352800"/>
          </a:xfrm>
          <a:prstGeom prst="rect">
            <a:avLst/>
          </a:prstGeom>
        </p:spPr>
        <p:txBody>
          <a:bodyPr/>
          <a:lstStyle/>
          <a:p>
            <a:fld id="{D0CCBA95-4DAD-4E83-B643-3F4D87FBCF54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9" name="Lige forbindelse 8"/>
          <p:cNvCxnSpPr/>
          <p:nvPr/>
        </p:nvCxnSpPr>
        <p:spPr>
          <a:xfrm>
            <a:off x="0" y="726604"/>
            <a:ext cx="121932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72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70400" y="1130400"/>
            <a:ext cx="5386917" cy="6397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70400" y="1994400"/>
            <a:ext cx="5386917" cy="4132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noProof="0"/>
            </a:lvl1pPr>
            <a:lvl2pPr>
              <a:defRPr lang="en-US" noProof="0"/>
            </a:lvl2pPr>
            <a:lvl3pPr>
              <a:defRPr lang="en-US" noProof="0"/>
            </a:lvl3pPr>
            <a:lvl4pPr>
              <a:defRPr lang="en-US" noProof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019202" y="1130400"/>
            <a:ext cx="5389033" cy="6397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019202" y="1994400"/>
            <a:ext cx="5389033" cy="4132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noProof="0"/>
            </a:lvl1pPr>
            <a:lvl2pPr>
              <a:defRPr lang="en-US" noProof="0"/>
            </a:lvl2pPr>
            <a:lvl3pPr>
              <a:defRPr lang="en-US" noProof="0"/>
            </a:lvl3pPr>
            <a:lvl4pPr>
              <a:defRPr lang="en-US" noProof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>
          <a:xfrm>
            <a:off x="0" y="6505200"/>
            <a:ext cx="12192000" cy="352800"/>
          </a:xfrm>
          <a:prstGeom prst="rect">
            <a:avLst/>
          </a:prstGeom>
        </p:spPr>
        <p:txBody>
          <a:bodyPr/>
          <a:lstStyle/>
          <a:p>
            <a:fld id="{D0CCBA95-4DAD-4E83-B643-3F4D87FBCF54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1" name="Lige forbindelse 10"/>
          <p:cNvCxnSpPr/>
          <p:nvPr/>
        </p:nvCxnSpPr>
        <p:spPr>
          <a:xfrm>
            <a:off x="0" y="726604"/>
            <a:ext cx="121932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50833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505200"/>
            <a:ext cx="12192000" cy="352800"/>
          </a:xfrm>
          <a:prstGeom prst="rect">
            <a:avLst/>
          </a:prstGeom>
        </p:spPr>
        <p:txBody>
          <a:bodyPr/>
          <a:lstStyle/>
          <a:p>
            <a:fld id="{D0CCBA95-4DAD-4E83-B643-3F4D87FBCF54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7" name="Lige forbindelse 6"/>
          <p:cNvCxnSpPr/>
          <p:nvPr/>
        </p:nvCxnSpPr>
        <p:spPr>
          <a:xfrm>
            <a:off x="0" y="726604"/>
            <a:ext cx="12193200" cy="0"/>
          </a:xfrm>
          <a:prstGeom prst="line">
            <a:avLst/>
          </a:prstGeom>
          <a:ln w="19050">
            <a:solidFill>
              <a:srgbClr val="0034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70520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>
          <a:xfrm>
            <a:off x="0" y="6505200"/>
            <a:ext cx="12192000" cy="352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0CCBA95-4DAD-4E83-B643-3F4D87FBCF54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124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87CC0-2E73-4B64-8662-52AC05BB44CF}" type="slidenum">
              <a:rPr lang="en-US" dirty="0"/>
              <a:t>‹#›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7784" y="3"/>
            <a:ext cx="10938933" cy="72866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591052" y="1173600"/>
            <a:ext cx="6815667" cy="4953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noProof="0"/>
            </a:lvl1pPr>
            <a:lvl2pPr>
              <a:defRPr lang="en-US" noProof="0"/>
            </a:lvl2pPr>
            <a:lvl3pPr>
              <a:defRPr lang="en-US" noProof="0"/>
            </a:lvl3pPr>
            <a:lvl4pPr>
              <a:defRPr lang="en-US" noProof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467786" y="2185714"/>
            <a:ext cx="4011084" cy="394045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467784" y="1173600"/>
            <a:ext cx="4012800" cy="9360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12" name="Lige forbindelse 12"/>
          <p:cNvCxnSpPr/>
          <p:nvPr/>
        </p:nvCxnSpPr>
        <p:spPr>
          <a:xfrm>
            <a:off x="0" y="726604"/>
            <a:ext cx="121932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87713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89337" y="1173600"/>
            <a:ext cx="6817379" cy="495256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A87CC0-2E73-4B64-8662-52AC05BB44CF}" type="slidenum">
              <a:rPr lang="en-US" dirty="0"/>
              <a:t>‹#›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7784" y="3"/>
            <a:ext cx="10938933" cy="72866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467786" y="2185714"/>
            <a:ext cx="4011084" cy="394045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4"/>
          </p:nvPr>
        </p:nvSpPr>
        <p:spPr>
          <a:xfrm>
            <a:off x="467784" y="1173600"/>
            <a:ext cx="4012800" cy="9360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12" name="Lige forbindelse 12"/>
          <p:cNvCxnSpPr/>
          <p:nvPr/>
        </p:nvCxnSpPr>
        <p:spPr>
          <a:xfrm>
            <a:off x="0" y="726604"/>
            <a:ext cx="121932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37522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6454800" y="6505200"/>
            <a:ext cx="1440000" cy="35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8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Date Placeholder 4"/>
          <p:cNvSpPr>
            <a:spLocks noGrp="1"/>
          </p:cNvSpPr>
          <p:nvPr>
            <p:ph type="dt" sz="half" idx="2"/>
          </p:nvPr>
        </p:nvSpPr>
        <p:spPr>
          <a:xfrm>
            <a:off x="7894800" y="6505200"/>
            <a:ext cx="1440000" cy="35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8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70400" y="0"/>
            <a:ext cx="10939200" cy="72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defTabSz="514350"/>
            <a:endParaRPr lang="en-US" noProof="0" dirty="0"/>
          </a:p>
        </p:txBody>
      </p:sp>
      <p:grpSp>
        <p:nvGrpSpPr>
          <p:cNvPr id="5" name="FooterShape"/>
          <p:cNvGrpSpPr/>
          <p:nvPr/>
        </p:nvGrpSpPr>
        <p:grpSpPr>
          <a:xfrm>
            <a:off x="0" y="5423231"/>
            <a:ext cx="12192000" cy="1434769"/>
            <a:chOff x="0" y="5423231"/>
            <a:chExt cx="12192000" cy="1434769"/>
          </a:xfrm>
        </p:grpSpPr>
        <p:grpSp>
          <p:nvGrpSpPr>
            <p:cNvPr id="4" name="Gruppe 3"/>
            <p:cNvGrpSpPr/>
            <p:nvPr/>
          </p:nvGrpSpPr>
          <p:grpSpPr>
            <a:xfrm>
              <a:off x="0" y="5423231"/>
              <a:ext cx="12192000" cy="1434769"/>
              <a:chOff x="0" y="5423231"/>
              <a:chExt cx="12192000" cy="1434769"/>
            </a:xfrm>
          </p:grpSpPr>
          <p:sp>
            <p:nvSpPr>
              <p:cNvPr id="14" name="Freeform 11"/>
              <p:cNvSpPr/>
              <p:nvPr/>
            </p:nvSpPr>
            <p:spPr bwMode="auto">
              <a:xfrm>
                <a:off x="0" y="5423231"/>
                <a:ext cx="12192000" cy="1412776"/>
              </a:xfrm>
              <a:custGeom>
                <a:avLst/>
                <a:gdLst/>
                <a:ahLst/>
                <a:cxnLst/>
                <a:rect l="0" t="0" r="r" b="b"/>
                <a:pathLst>
                  <a:path w="38400" h="4469">
                    <a:moveTo>
                      <a:pt x="0" y="1047"/>
                    </a:moveTo>
                    <a:cubicBezTo>
                      <a:pt x="0" y="4469"/>
                      <a:pt x="0" y="4469"/>
                      <a:pt x="0" y="4469"/>
                    </a:cubicBezTo>
                    <a:cubicBezTo>
                      <a:pt x="38400" y="4469"/>
                      <a:pt x="38400" y="4469"/>
                      <a:pt x="38400" y="4469"/>
                    </a:cubicBezTo>
                    <a:cubicBezTo>
                      <a:pt x="38400" y="0"/>
                      <a:pt x="38400" y="0"/>
                      <a:pt x="38400" y="0"/>
                    </a:cubicBezTo>
                    <a:cubicBezTo>
                      <a:pt x="26118" y="3710"/>
                      <a:pt x="12821" y="3859"/>
                      <a:pt x="0" y="10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</p:sp>
          <p:sp>
            <p:nvSpPr>
              <p:cNvPr id="15" name="Freeform 11"/>
              <p:cNvSpPr/>
              <p:nvPr/>
            </p:nvSpPr>
            <p:spPr bwMode="auto">
              <a:xfrm>
                <a:off x="0" y="5445224"/>
                <a:ext cx="12192000" cy="1412776"/>
              </a:xfrm>
              <a:custGeom>
                <a:avLst/>
                <a:gdLst/>
                <a:ahLst/>
                <a:cxnLst/>
                <a:rect l="0" t="0" r="r" b="b"/>
                <a:pathLst>
                  <a:path w="38400" h="4469">
                    <a:moveTo>
                      <a:pt x="0" y="1047"/>
                    </a:moveTo>
                    <a:cubicBezTo>
                      <a:pt x="0" y="4469"/>
                      <a:pt x="0" y="4469"/>
                      <a:pt x="0" y="4469"/>
                    </a:cubicBezTo>
                    <a:cubicBezTo>
                      <a:pt x="38400" y="4469"/>
                      <a:pt x="38400" y="4469"/>
                      <a:pt x="38400" y="4469"/>
                    </a:cubicBezTo>
                    <a:cubicBezTo>
                      <a:pt x="38400" y="0"/>
                      <a:pt x="38400" y="0"/>
                      <a:pt x="38400" y="0"/>
                    </a:cubicBezTo>
                    <a:cubicBezTo>
                      <a:pt x="26118" y="3710"/>
                      <a:pt x="12821" y="3859"/>
                      <a:pt x="0" y="1047"/>
                    </a:cubicBezTo>
                    <a:close/>
                  </a:path>
                </a:pathLst>
              </a:custGeom>
              <a:solidFill>
                <a:srgbClr val="003459"/>
              </a:solidFill>
              <a:ln>
                <a:noFill/>
              </a:ln>
            </p:spPr>
          </p:sp>
        </p:grpSp>
        <p:grpSp>
          <p:nvGrpSpPr>
            <p:cNvPr id="23" name="Gruppe 22"/>
            <p:cNvGrpSpPr/>
            <p:nvPr/>
          </p:nvGrpSpPr>
          <p:grpSpPr>
            <a:xfrm>
              <a:off x="10981119" y="5913438"/>
              <a:ext cx="906463" cy="777875"/>
              <a:chOff x="10072688" y="5913438"/>
              <a:chExt cx="906463" cy="777875"/>
            </a:xfrm>
          </p:grpSpPr>
          <p:sp>
            <p:nvSpPr>
              <p:cNvPr id="20" name="Freeform 6"/>
              <p:cNvSpPr/>
              <p:nvPr/>
            </p:nvSpPr>
            <p:spPr bwMode="auto">
              <a:xfrm>
                <a:off x="10072688" y="5913438"/>
                <a:ext cx="906463" cy="777875"/>
              </a:xfrm>
              <a:custGeom>
                <a:avLst/>
                <a:gdLst/>
                <a:ahLst/>
                <a:cxnLst/>
                <a:rect l="0" t="0" r="r" b="b"/>
                <a:pathLst>
                  <a:path w="5935" h="5085">
                    <a:moveTo>
                      <a:pt x="4187" y="4681"/>
                    </a:moveTo>
                    <a:cubicBezTo>
                      <a:pt x="5454" y="4277"/>
                      <a:pt x="5935" y="2992"/>
                      <a:pt x="5262" y="1811"/>
                    </a:cubicBezTo>
                    <a:cubicBezTo>
                      <a:pt x="4589" y="630"/>
                      <a:pt x="3016" y="0"/>
                      <a:pt x="1749" y="403"/>
                    </a:cubicBezTo>
                    <a:cubicBezTo>
                      <a:pt x="482" y="807"/>
                      <a:pt x="0" y="2092"/>
                      <a:pt x="674" y="3274"/>
                    </a:cubicBezTo>
                    <a:cubicBezTo>
                      <a:pt x="1347" y="4455"/>
                      <a:pt x="2920" y="5085"/>
                      <a:pt x="4187" y="468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a-DK"/>
              </a:p>
            </p:txBody>
          </p:sp>
          <p:sp>
            <p:nvSpPr>
              <p:cNvPr id="21" name="Freeform 7"/>
              <p:cNvSpPr>
                <a:spLocks noEditPoints="1"/>
              </p:cNvSpPr>
              <p:nvPr/>
            </p:nvSpPr>
            <p:spPr bwMode="auto">
              <a:xfrm>
                <a:off x="10101263" y="5970588"/>
                <a:ext cx="849313" cy="692150"/>
              </a:xfrm>
              <a:custGeom>
                <a:avLst/>
                <a:gdLst/>
                <a:ahLst/>
                <a:cxnLst/>
                <a:rect l="0" t="0" r="r" b="b"/>
                <a:pathLst>
                  <a:path w="5564" h="4525">
                    <a:moveTo>
                      <a:pt x="4933" y="1479"/>
                    </a:moveTo>
                    <a:cubicBezTo>
                      <a:pt x="4877" y="1381"/>
                      <a:pt x="4814" y="1287"/>
                      <a:pt x="4746" y="1198"/>
                    </a:cubicBezTo>
                    <a:cubicBezTo>
                      <a:pt x="4628" y="1587"/>
                      <a:pt x="4628" y="1587"/>
                      <a:pt x="4628" y="1587"/>
                    </a:cubicBezTo>
                    <a:cubicBezTo>
                      <a:pt x="4623" y="1603"/>
                      <a:pt x="4623" y="1603"/>
                      <a:pt x="4623" y="1603"/>
                    </a:cubicBezTo>
                    <a:cubicBezTo>
                      <a:pt x="4620" y="1613"/>
                      <a:pt x="4620" y="1613"/>
                      <a:pt x="4620" y="1613"/>
                    </a:cubicBezTo>
                    <a:cubicBezTo>
                      <a:pt x="4223" y="1613"/>
                      <a:pt x="4223" y="1613"/>
                      <a:pt x="4223" y="1613"/>
                    </a:cubicBezTo>
                    <a:cubicBezTo>
                      <a:pt x="4223" y="1613"/>
                      <a:pt x="4223" y="1613"/>
                      <a:pt x="4223" y="1613"/>
                    </a:cubicBezTo>
                    <a:cubicBezTo>
                      <a:pt x="4134" y="1613"/>
                      <a:pt x="4061" y="1677"/>
                      <a:pt x="4061" y="1755"/>
                    </a:cubicBezTo>
                    <a:cubicBezTo>
                      <a:pt x="4061" y="1786"/>
                      <a:pt x="4072" y="1815"/>
                      <a:pt x="4093" y="1840"/>
                    </a:cubicBezTo>
                    <a:cubicBezTo>
                      <a:pt x="4093" y="1840"/>
                      <a:pt x="4119" y="1871"/>
                      <a:pt x="4119" y="1871"/>
                    </a:cubicBezTo>
                    <a:cubicBezTo>
                      <a:pt x="4119" y="1871"/>
                      <a:pt x="4395" y="2208"/>
                      <a:pt x="4395" y="2208"/>
                    </a:cubicBezTo>
                    <a:cubicBezTo>
                      <a:pt x="4404" y="2219"/>
                      <a:pt x="4404" y="2219"/>
                      <a:pt x="4404" y="2219"/>
                    </a:cubicBezTo>
                    <a:cubicBezTo>
                      <a:pt x="4404" y="2219"/>
                      <a:pt x="4404" y="2219"/>
                      <a:pt x="4404" y="2219"/>
                    </a:cubicBezTo>
                    <a:cubicBezTo>
                      <a:pt x="4478" y="2316"/>
                      <a:pt x="4496" y="2441"/>
                      <a:pt x="4457" y="2573"/>
                    </a:cubicBezTo>
                    <a:cubicBezTo>
                      <a:pt x="4416" y="2706"/>
                      <a:pt x="4319" y="2832"/>
                      <a:pt x="4185" y="2926"/>
                    </a:cubicBezTo>
                    <a:cubicBezTo>
                      <a:pt x="4050" y="3020"/>
                      <a:pt x="3892" y="3071"/>
                      <a:pt x="3741" y="3071"/>
                    </a:cubicBezTo>
                    <a:cubicBezTo>
                      <a:pt x="3131" y="3071"/>
                      <a:pt x="3131" y="3071"/>
                      <a:pt x="3131" y="3071"/>
                    </a:cubicBezTo>
                    <a:cubicBezTo>
                      <a:pt x="3136" y="3055"/>
                      <a:pt x="3136" y="3055"/>
                      <a:pt x="3136" y="3055"/>
                    </a:cubicBezTo>
                    <a:cubicBezTo>
                      <a:pt x="3144" y="3028"/>
                      <a:pt x="3144" y="3028"/>
                      <a:pt x="3144" y="3028"/>
                    </a:cubicBezTo>
                    <a:cubicBezTo>
                      <a:pt x="3266" y="2628"/>
                      <a:pt x="3266" y="2628"/>
                      <a:pt x="3266" y="2628"/>
                    </a:cubicBezTo>
                    <a:cubicBezTo>
                      <a:pt x="3271" y="2611"/>
                      <a:pt x="3271" y="2611"/>
                      <a:pt x="3271" y="2611"/>
                    </a:cubicBezTo>
                    <a:cubicBezTo>
                      <a:pt x="3273" y="2603"/>
                      <a:pt x="3273" y="2603"/>
                      <a:pt x="3273" y="2603"/>
                    </a:cubicBezTo>
                    <a:cubicBezTo>
                      <a:pt x="3665" y="2603"/>
                      <a:pt x="3665" y="2603"/>
                      <a:pt x="3665" y="2603"/>
                    </a:cubicBezTo>
                    <a:cubicBezTo>
                      <a:pt x="3665" y="2603"/>
                      <a:pt x="3672" y="2603"/>
                      <a:pt x="3671" y="2603"/>
                    </a:cubicBezTo>
                    <a:cubicBezTo>
                      <a:pt x="3761" y="2603"/>
                      <a:pt x="3834" y="2539"/>
                      <a:pt x="3834" y="2461"/>
                    </a:cubicBezTo>
                    <a:cubicBezTo>
                      <a:pt x="3834" y="2430"/>
                      <a:pt x="3823" y="2401"/>
                      <a:pt x="3802" y="2376"/>
                    </a:cubicBezTo>
                    <a:cubicBezTo>
                      <a:pt x="3802" y="2376"/>
                      <a:pt x="3791" y="2363"/>
                      <a:pt x="3791" y="2363"/>
                    </a:cubicBezTo>
                    <a:cubicBezTo>
                      <a:pt x="3499" y="2007"/>
                      <a:pt x="3499" y="2007"/>
                      <a:pt x="3499" y="2007"/>
                    </a:cubicBezTo>
                    <a:cubicBezTo>
                      <a:pt x="3490" y="1996"/>
                      <a:pt x="3490" y="1996"/>
                      <a:pt x="3490" y="1996"/>
                    </a:cubicBezTo>
                    <a:cubicBezTo>
                      <a:pt x="3490" y="1995"/>
                      <a:pt x="3490" y="1995"/>
                      <a:pt x="3490" y="1995"/>
                    </a:cubicBezTo>
                    <a:cubicBezTo>
                      <a:pt x="3417" y="1899"/>
                      <a:pt x="3398" y="1774"/>
                      <a:pt x="3438" y="1642"/>
                    </a:cubicBezTo>
                    <a:cubicBezTo>
                      <a:pt x="3478" y="1509"/>
                      <a:pt x="3575" y="1383"/>
                      <a:pt x="3710" y="1289"/>
                    </a:cubicBezTo>
                    <a:cubicBezTo>
                      <a:pt x="3844" y="1195"/>
                      <a:pt x="4002" y="1143"/>
                      <a:pt x="4153" y="1143"/>
                    </a:cubicBezTo>
                    <a:cubicBezTo>
                      <a:pt x="4704" y="1143"/>
                      <a:pt x="4704" y="1143"/>
                      <a:pt x="4704" y="1143"/>
                    </a:cubicBezTo>
                    <a:cubicBezTo>
                      <a:pt x="4124" y="423"/>
                      <a:pt x="3164" y="0"/>
                      <a:pt x="2254" y="47"/>
                    </a:cubicBezTo>
                    <a:cubicBezTo>
                      <a:pt x="2112" y="516"/>
                      <a:pt x="2112" y="516"/>
                      <a:pt x="2112" y="516"/>
                    </a:cubicBezTo>
                    <a:cubicBezTo>
                      <a:pt x="2107" y="532"/>
                      <a:pt x="2107" y="532"/>
                      <a:pt x="2107" y="532"/>
                    </a:cubicBezTo>
                    <a:cubicBezTo>
                      <a:pt x="2104" y="541"/>
                      <a:pt x="2104" y="541"/>
                      <a:pt x="2104" y="541"/>
                    </a:cubicBezTo>
                    <a:cubicBezTo>
                      <a:pt x="1493" y="541"/>
                      <a:pt x="1493" y="541"/>
                      <a:pt x="1493" y="541"/>
                    </a:cubicBezTo>
                    <a:cubicBezTo>
                      <a:pt x="1498" y="525"/>
                      <a:pt x="1498" y="525"/>
                      <a:pt x="1498" y="525"/>
                    </a:cubicBezTo>
                    <a:cubicBezTo>
                      <a:pt x="1506" y="498"/>
                      <a:pt x="1506" y="498"/>
                      <a:pt x="1506" y="498"/>
                    </a:cubicBezTo>
                    <a:cubicBezTo>
                      <a:pt x="1606" y="168"/>
                      <a:pt x="1606" y="168"/>
                      <a:pt x="1606" y="168"/>
                    </a:cubicBezTo>
                    <a:cubicBezTo>
                      <a:pt x="440" y="558"/>
                      <a:pt x="0" y="1752"/>
                      <a:pt x="627" y="2852"/>
                    </a:cubicBezTo>
                    <a:cubicBezTo>
                      <a:pt x="660" y="2909"/>
                      <a:pt x="695" y="2966"/>
                      <a:pt x="733" y="3021"/>
                    </a:cubicBezTo>
                    <a:cubicBezTo>
                      <a:pt x="1294" y="1168"/>
                      <a:pt x="1294" y="1168"/>
                      <a:pt x="1294" y="1168"/>
                    </a:cubicBezTo>
                    <a:cubicBezTo>
                      <a:pt x="1299" y="1151"/>
                      <a:pt x="1299" y="1151"/>
                      <a:pt x="1299" y="1151"/>
                    </a:cubicBezTo>
                    <a:cubicBezTo>
                      <a:pt x="1302" y="1142"/>
                      <a:pt x="1302" y="1142"/>
                      <a:pt x="1302" y="1142"/>
                    </a:cubicBezTo>
                    <a:cubicBezTo>
                      <a:pt x="1913" y="1142"/>
                      <a:pt x="1913" y="1142"/>
                      <a:pt x="1913" y="1142"/>
                    </a:cubicBezTo>
                    <a:cubicBezTo>
                      <a:pt x="1908" y="1159"/>
                      <a:pt x="1908" y="1159"/>
                      <a:pt x="1908" y="1159"/>
                    </a:cubicBezTo>
                    <a:cubicBezTo>
                      <a:pt x="1900" y="1186"/>
                      <a:pt x="1900" y="1186"/>
                      <a:pt x="1900" y="1186"/>
                    </a:cubicBezTo>
                    <a:cubicBezTo>
                      <a:pt x="1335" y="3049"/>
                      <a:pt x="1335" y="3049"/>
                      <a:pt x="1335" y="3049"/>
                    </a:cubicBezTo>
                    <a:cubicBezTo>
                      <a:pt x="1330" y="3065"/>
                      <a:pt x="1330" y="3065"/>
                      <a:pt x="1330" y="3065"/>
                    </a:cubicBezTo>
                    <a:cubicBezTo>
                      <a:pt x="1328" y="3074"/>
                      <a:pt x="1328" y="3074"/>
                      <a:pt x="1328" y="3074"/>
                    </a:cubicBezTo>
                    <a:cubicBezTo>
                      <a:pt x="770" y="3074"/>
                      <a:pt x="770" y="3074"/>
                      <a:pt x="770" y="3074"/>
                    </a:cubicBezTo>
                    <a:cubicBezTo>
                      <a:pt x="1462" y="4037"/>
                      <a:pt x="2817" y="4525"/>
                      <a:pt x="3924" y="4172"/>
                    </a:cubicBezTo>
                    <a:cubicBezTo>
                      <a:pt x="5113" y="3793"/>
                      <a:pt x="5564" y="2587"/>
                      <a:pt x="4933" y="1479"/>
                    </a:cubicBezTo>
                    <a:moveTo>
                      <a:pt x="3057" y="2573"/>
                    </a:moveTo>
                    <a:cubicBezTo>
                      <a:pt x="3016" y="2706"/>
                      <a:pt x="2920" y="2832"/>
                      <a:pt x="2785" y="2926"/>
                    </a:cubicBezTo>
                    <a:cubicBezTo>
                      <a:pt x="2650" y="3020"/>
                      <a:pt x="2493" y="3071"/>
                      <a:pt x="2341" y="3071"/>
                    </a:cubicBezTo>
                    <a:cubicBezTo>
                      <a:pt x="1731" y="3071"/>
                      <a:pt x="1731" y="3071"/>
                      <a:pt x="1731" y="3071"/>
                    </a:cubicBezTo>
                    <a:cubicBezTo>
                      <a:pt x="1736" y="3055"/>
                      <a:pt x="1736" y="3055"/>
                      <a:pt x="1736" y="3055"/>
                    </a:cubicBezTo>
                    <a:cubicBezTo>
                      <a:pt x="1745" y="3028"/>
                      <a:pt x="1745" y="3028"/>
                      <a:pt x="1745" y="3028"/>
                    </a:cubicBezTo>
                    <a:cubicBezTo>
                      <a:pt x="1866" y="2628"/>
                      <a:pt x="1866" y="2628"/>
                      <a:pt x="1866" y="2628"/>
                    </a:cubicBezTo>
                    <a:cubicBezTo>
                      <a:pt x="1871" y="2611"/>
                      <a:pt x="1871" y="2611"/>
                      <a:pt x="1871" y="2611"/>
                    </a:cubicBezTo>
                    <a:cubicBezTo>
                      <a:pt x="1874" y="2603"/>
                      <a:pt x="1874" y="2603"/>
                      <a:pt x="1874" y="2603"/>
                    </a:cubicBezTo>
                    <a:cubicBezTo>
                      <a:pt x="2265" y="2603"/>
                      <a:pt x="2265" y="2603"/>
                      <a:pt x="2265" y="2603"/>
                    </a:cubicBezTo>
                    <a:cubicBezTo>
                      <a:pt x="2265" y="2603"/>
                      <a:pt x="2272" y="2603"/>
                      <a:pt x="2272" y="2603"/>
                    </a:cubicBezTo>
                    <a:cubicBezTo>
                      <a:pt x="2361" y="2603"/>
                      <a:pt x="2434" y="2539"/>
                      <a:pt x="2434" y="2461"/>
                    </a:cubicBezTo>
                    <a:cubicBezTo>
                      <a:pt x="2434" y="2430"/>
                      <a:pt x="2423" y="2401"/>
                      <a:pt x="2402" y="2376"/>
                    </a:cubicBezTo>
                    <a:cubicBezTo>
                      <a:pt x="2403" y="2376"/>
                      <a:pt x="2391" y="2363"/>
                      <a:pt x="2391" y="2363"/>
                    </a:cubicBezTo>
                    <a:cubicBezTo>
                      <a:pt x="2099" y="2007"/>
                      <a:pt x="2099" y="2007"/>
                      <a:pt x="2099" y="2007"/>
                    </a:cubicBezTo>
                    <a:cubicBezTo>
                      <a:pt x="2099" y="2007"/>
                      <a:pt x="2090" y="1995"/>
                      <a:pt x="2090" y="1995"/>
                    </a:cubicBezTo>
                    <a:cubicBezTo>
                      <a:pt x="2090" y="1995"/>
                      <a:pt x="2090" y="1995"/>
                      <a:pt x="2090" y="1995"/>
                    </a:cubicBezTo>
                    <a:cubicBezTo>
                      <a:pt x="2017" y="1898"/>
                      <a:pt x="1998" y="1774"/>
                      <a:pt x="2038" y="1642"/>
                    </a:cubicBezTo>
                    <a:cubicBezTo>
                      <a:pt x="2079" y="1509"/>
                      <a:pt x="2175" y="1383"/>
                      <a:pt x="2310" y="1289"/>
                    </a:cubicBezTo>
                    <a:cubicBezTo>
                      <a:pt x="2445" y="1195"/>
                      <a:pt x="2602" y="1143"/>
                      <a:pt x="2753" y="1143"/>
                    </a:cubicBezTo>
                    <a:cubicBezTo>
                      <a:pt x="3362" y="1143"/>
                      <a:pt x="3362" y="1143"/>
                      <a:pt x="3362" y="1143"/>
                    </a:cubicBezTo>
                    <a:cubicBezTo>
                      <a:pt x="3358" y="1160"/>
                      <a:pt x="3358" y="1160"/>
                      <a:pt x="3358" y="1160"/>
                    </a:cubicBezTo>
                    <a:cubicBezTo>
                      <a:pt x="3349" y="1187"/>
                      <a:pt x="3349" y="1187"/>
                      <a:pt x="3349" y="1187"/>
                    </a:cubicBezTo>
                    <a:cubicBezTo>
                      <a:pt x="3228" y="1587"/>
                      <a:pt x="3228" y="1587"/>
                      <a:pt x="3228" y="1587"/>
                    </a:cubicBezTo>
                    <a:cubicBezTo>
                      <a:pt x="3223" y="1603"/>
                      <a:pt x="3223" y="1603"/>
                      <a:pt x="3223" y="1603"/>
                    </a:cubicBezTo>
                    <a:cubicBezTo>
                      <a:pt x="3220" y="1613"/>
                      <a:pt x="3220" y="1613"/>
                      <a:pt x="3220" y="1613"/>
                    </a:cubicBezTo>
                    <a:cubicBezTo>
                      <a:pt x="2824" y="1613"/>
                      <a:pt x="2824" y="1613"/>
                      <a:pt x="2824" y="1613"/>
                    </a:cubicBezTo>
                    <a:cubicBezTo>
                      <a:pt x="2824" y="1613"/>
                      <a:pt x="2824" y="1613"/>
                      <a:pt x="2824" y="1613"/>
                    </a:cubicBezTo>
                    <a:cubicBezTo>
                      <a:pt x="2734" y="1613"/>
                      <a:pt x="2661" y="1677"/>
                      <a:pt x="2661" y="1755"/>
                    </a:cubicBezTo>
                    <a:cubicBezTo>
                      <a:pt x="2661" y="1786"/>
                      <a:pt x="2672" y="1815"/>
                      <a:pt x="2693" y="1840"/>
                    </a:cubicBezTo>
                    <a:cubicBezTo>
                      <a:pt x="2693" y="1840"/>
                      <a:pt x="2719" y="1871"/>
                      <a:pt x="2720" y="1871"/>
                    </a:cubicBezTo>
                    <a:cubicBezTo>
                      <a:pt x="2996" y="2208"/>
                      <a:pt x="2996" y="2208"/>
                      <a:pt x="2996" y="2208"/>
                    </a:cubicBezTo>
                    <a:cubicBezTo>
                      <a:pt x="2996" y="2208"/>
                      <a:pt x="3004" y="2219"/>
                      <a:pt x="3004" y="2219"/>
                    </a:cubicBezTo>
                    <a:cubicBezTo>
                      <a:pt x="3004" y="2219"/>
                      <a:pt x="3004" y="2219"/>
                      <a:pt x="3004" y="2219"/>
                    </a:cubicBezTo>
                    <a:cubicBezTo>
                      <a:pt x="3078" y="2316"/>
                      <a:pt x="3097" y="2441"/>
                      <a:pt x="3057" y="2573"/>
                    </a:cubicBezTo>
                  </a:path>
                </a:pathLst>
              </a:custGeom>
              <a:solidFill>
                <a:srgbClr val="003459"/>
              </a:solidFill>
              <a:ln>
                <a:noFill/>
              </a:ln>
            </p:spPr>
            <p:txBody>
              <a:bodyPr/>
              <a:lstStyle/>
              <a:p>
                <a:endParaRPr lang="da-DK"/>
              </a:p>
            </p:txBody>
          </p:sp>
        </p:grpSp>
        <p:grpSp>
          <p:nvGrpSpPr>
            <p:cNvPr id="19" name="Group 4"/>
            <p:cNvGrpSpPr>
              <a:grpSpLocks noChangeAspect="1"/>
            </p:cNvGrpSpPr>
            <p:nvPr/>
          </p:nvGrpSpPr>
          <p:grpSpPr bwMode="auto">
            <a:xfrm>
              <a:off x="367036" y="6566608"/>
              <a:ext cx="2408400" cy="74202"/>
              <a:chOff x="2600" y="2977"/>
              <a:chExt cx="1136" cy="35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2600" y="2977"/>
                <a:ext cx="1136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24" name="Freeform 5"/>
              <p:cNvSpPr/>
              <p:nvPr/>
            </p:nvSpPr>
            <p:spPr bwMode="auto">
              <a:xfrm>
                <a:off x="3246" y="2977"/>
                <a:ext cx="53" cy="35"/>
              </a:xfrm>
              <a:custGeom>
                <a:avLst/>
                <a:gdLst/>
                <a:ahLst/>
                <a:cxnLst/>
                <a:rect l="0" t="0" r="r" b="b"/>
                <a:pathLst>
                  <a:path w="2572" h="1694">
                    <a:moveTo>
                      <a:pt x="2112" y="0"/>
                    </a:moveTo>
                    <a:cubicBezTo>
                      <a:pt x="2086" y="0"/>
                      <a:pt x="2063" y="17"/>
                      <a:pt x="2055" y="43"/>
                    </a:cubicBezTo>
                    <a:cubicBezTo>
                      <a:pt x="1881" y="613"/>
                      <a:pt x="1881" y="613"/>
                      <a:pt x="1881" y="613"/>
                    </a:cubicBezTo>
                    <a:cubicBezTo>
                      <a:pt x="834" y="613"/>
                      <a:pt x="834" y="613"/>
                      <a:pt x="834" y="613"/>
                    </a:cubicBezTo>
                    <a:cubicBezTo>
                      <a:pt x="998" y="77"/>
                      <a:pt x="998" y="77"/>
                      <a:pt x="998" y="77"/>
                    </a:cubicBezTo>
                    <a:cubicBezTo>
                      <a:pt x="1000" y="72"/>
                      <a:pt x="1001" y="66"/>
                      <a:pt x="1001" y="60"/>
                    </a:cubicBezTo>
                    <a:cubicBezTo>
                      <a:pt x="1001" y="48"/>
                      <a:pt x="997" y="34"/>
                      <a:pt x="989" y="24"/>
                    </a:cubicBezTo>
                    <a:cubicBezTo>
                      <a:pt x="977" y="9"/>
                      <a:pt x="960" y="0"/>
                      <a:pt x="941" y="0"/>
                    </a:cubicBezTo>
                    <a:cubicBezTo>
                      <a:pt x="544" y="0"/>
                      <a:pt x="544" y="0"/>
                      <a:pt x="544" y="0"/>
                    </a:cubicBezTo>
                    <a:cubicBezTo>
                      <a:pt x="517" y="0"/>
                      <a:pt x="494" y="17"/>
                      <a:pt x="487" y="43"/>
                    </a:cubicBezTo>
                    <a:cubicBezTo>
                      <a:pt x="6" y="1616"/>
                      <a:pt x="6" y="1616"/>
                      <a:pt x="6" y="1616"/>
                    </a:cubicBezTo>
                    <a:cubicBezTo>
                      <a:pt x="0" y="1634"/>
                      <a:pt x="3" y="1654"/>
                      <a:pt x="15" y="1669"/>
                    </a:cubicBezTo>
                    <a:cubicBezTo>
                      <a:pt x="26" y="1685"/>
                      <a:pt x="44" y="1694"/>
                      <a:pt x="63" y="1694"/>
                    </a:cubicBezTo>
                    <a:cubicBezTo>
                      <a:pt x="459" y="1694"/>
                      <a:pt x="459" y="1694"/>
                      <a:pt x="459" y="1694"/>
                    </a:cubicBezTo>
                    <a:cubicBezTo>
                      <a:pt x="486" y="1694"/>
                      <a:pt x="509" y="1677"/>
                      <a:pt x="517" y="1651"/>
                    </a:cubicBezTo>
                    <a:cubicBezTo>
                      <a:pt x="722" y="980"/>
                      <a:pt x="722" y="980"/>
                      <a:pt x="722" y="980"/>
                    </a:cubicBezTo>
                    <a:cubicBezTo>
                      <a:pt x="1768" y="980"/>
                      <a:pt x="1768" y="980"/>
                      <a:pt x="1768" y="980"/>
                    </a:cubicBezTo>
                    <a:cubicBezTo>
                      <a:pt x="1573" y="1616"/>
                      <a:pt x="1573" y="1616"/>
                      <a:pt x="1573" y="1616"/>
                    </a:cubicBezTo>
                    <a:cubicBezTo>
                      <a:pt x="1572" y="1622"/>
                      <a:pt x="1571" y="1627"/>
                      <a:pt x="1571" y="1634"/>
                    </a:cubicBezTo>
                    <a:cubicBezTo>
                      <a:pt x="1571" y="1646"/>
                      <a:pt x="1575" y="1659"/>
                      <a:pt x="1583" y="1669"/>
                    </a:cubicBezTo>
                    <a:cubicBezTo>
                      <a:pt x="1594" y="1685"/>
                      <a:pt x="1612" y="1694"/>
                      <a:pt x="1631" y="1694"/>
                    </a:cubicBezTo>
                    <a:cubicBezTo>
                      <a:pt x="2028" y="1694"/>
                      <a:pt x="2028" y="1694"/>
                      <a:pt x="2028" y="1694"/>
                    </a:cubicBezTo>
                    <a:cubicBezTo>
                      <a:pt x="2054" y="1694"/>
                      <a:pt x="2078" y="1677"/>
                      <a:pt x="2085" y="1651"/>
                    </a:cubicBezTo>
                    <a:cubicBezTo>
                      <a:pt x="2566" y="77"/>
                      <a:pt x="2566" y="77"/>
                      <a:pt x="2566" y="77"/>
                    </a:cubicBezTo>
                    <a:cubicBezTo>
                      <a:pt x="2572" y="59"/>
                      <a:pt x="2569" y="39"/>
                      <a:pt x="2557" y="24"/>
                    </a:cubicBezTo>
                    <a:cubicBezTo>
                      <a:pt x="2546" y="9"/>
                      <a:pt x="2528" y="0"/>
                      <a:pt x="2509" y="0"/>
                    </a:cubicBezTo>
                    <a:lnTo>
                      <a:pt x="211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5" name="Freeform 6"/>
              <p:cNvSpPr/>
              <p:nvPr/>
            </p:nvSpPr>
            <p:spPr bwMode="auto">
              <a:xfrm>
                <a:off x="3338" y="2980"/>
                <a:ext cx="56" cy="32"/>
              </a:xfrm>
              <a:custGeom>
                <a:avLst/>
                <a:gdLst/>
                <a:ahLst/>
                <a:cxnLst/>
                <a:rect l="0" t="0" r="r" b="b"/>
                <a:pathLst>
                  <a:path w="2760" h="1540">
                    <a:moveTo>
                      <a:pt x="2190" y="0"/>
                    </a:moveTo>
                    <a:cubicBezTo>
                      <a:pt x="2172" y="0"/>
                      <a:pt x="2156" y="8"/>
                      <a:pt x="2144" y="21"/>
                    </a:cubicBezTo>
                    <a:cubicBezTo>
                      <a:pt x="1296" y="1033"/>
                      <a:pt x="1296" y="1033"/>
                      <a:pt x="1296" y="1033"/>
                    </a:cubicBezTo>
                    <a:cubicBezTo>
                      <a:pt x="1065" y="46"/>
                      <a:pt x="1065" y="46"/>
                      <a:pt x="1065" y="46"/>
                    </a:cubicBezTo>
                    <a:cubicBezTo>
                      <a:pt x="1059" y="19"/>
                      <a:pt x="1035" y="0"/>
                      <a:pt x="1008" y="0"/>
                    </a:cubicBezTo>
                    <a:cubicBezTo>
                      <a:pt x="495" y="0"/>
                      <a:pt x="495" y="0"/>
                      <a:pt x="495" y="0"/>
                    </a:cubicBezTo>
                    <a:cubicBezTo>
                      <a:pt x="468" y="0"/>
                      <a:pt x="446" y="17"/>
                      <a:pt x="438" y="42"/>
                    </a:cubicBezTo>
                    <a:cubicBezTo>
                      <a:pt x="6" y="1463"/>
                      <a:pt x="6" y="1463"/>
                      <a:pt x="6" y="1463"/>
                    </a:cubicBezTo>
                    <a:cubicBezTo>
                      <a:pt x="0" y="1481"/>
                      <a:pt x="4" y="1500"/>
                      <a:pt x="15" y="1515"/>
                    </a:cubicBezTo>
                    <a:cubicBezTo>
                      <a:pt x="26" y="1531"/>
                      <a:pt x="44" y="1540"/>
                      <a:pt x="63" y="1540"/>
                    </a:cubicBezTo>
                    <a:cubicBezTo>
                      <a:pt x="397" y="1540"/>
                      <a:pt x="397" y="1540"/>
                      <a:pt x="397" y="1540"/>
                    </a:cubicBezTo>
                    <a:cubicBezTo>
                      <a:pt x="424" y="1540"/>
                      <a:pt x="447" y="1522"/>
                      <a:pt x="454" y="1497"/>
                    </a:cubicBezTo>
                    <a:cubicBezTo>
                      <a:pt x="735" y="534"/>
                      <a:pt x="735" y="534"/>
                      <a:pt x="735" y="534"/>
                    </a:cubicBezTo>
                    <a:cubicBezTo>
                      <a:pt x="952" y="1493"/>
                      <a:pt x="952" y="1493"/>
                      <a:pt x="952" y="1493"/>
                    </a:cubicBezTo>
                    <a:cubicBezTo>
                      <a:pt x="958" y="1520"/>
                      <a:pt x="982" y="1540"/>
                      <a:pt x="1010" y="1540"/>
                    </a:cubicBezTo>
                    <a:cubicBezTo>
                      <a:pt x="1314" y="1540"/>
                      <a:pt x="1314" y="1540"/>
                      <a:pt x="1314" y="1540"/>
                    </a:cubicBezTo>
                    <a:cubicBezTo>
                      <a:pt x="1331" y="1540"/>
                      <a:pt x="1348" y="1532"/>
                      <a:pt x="1359" y="1519"/>
                    </a:cubicBezTo>
                    <a:cubicBezTo>
                      <a:pt x="2158" y="565"/>
                      <a:pt x="2158" y="565"/>
                      <a:pt x="2158" y="565"/>
                    </a:cubicBezTo>
                    <a:cubicBezTo>
                      <a:pt x="1875" y="1462"/>
                      <a:pt x="1875" y="1462"/>
                      <a:pt x="1875" y="1462"/>
                    </a:cubicBezTo>
                    <a:cubicBezTo>
                      <a:pt x="1873" y="1468"/>
                      <a:pt x="1872" y="1474"/>
                      <a:pt x="1872" y="1480"/>
                    </a:cubicBezTo>
                    <a:cubicBezTo>
                      <a:pt x="1872" y="1493"/>
                      <a:pt x="1876" y="1505"/>
                      <a:pt x="1883" y="1515"/>
                    </a:cubicBezTo>
                    <a:cubicBezTo>
                      <a:pt x="1894" y="1531"/>
                      <a:pt x="1912" y="1540"/>
                      <a:pt x="1931" y="1540"/>
                    </a:cubicBezTo>
                    <a:cubicBezTo>
                      <a:pt x="2266" y="1540"/>
                      <a:pt x="2266" y="1540"/>
                      <a:pt x="2266" y="1540"/>
                    </a:cubicBezTo>
                    <a:cubicBezTo>
                      <a:pt x="2292" y="1540"/>
                      <a:pt x="2315" y="1523"/>
                      <a:pt x="2323" y="1498"/>
                    </a:cubicBezTo>
                    <a:cubicBezTo>
                      <a:pt x="2755" y="77"/>
                      <a:pt x="2755" y="77"/>
                      <a:pt x="2755" y="77"/>
                    </a:cubicBezTo>
                    <a:cubicBezTo>
                      <a:pt x="2760" y="59"/>
                      <a:pt x="2757" y="39"/>
                      <a:pt x="2746" y="24"/>
                    </a:cubicBezTo>
                    <a:cubicBezTo>
                      <a:pt x="2734" y="9"/>
                      <a:pt x="2717" y="0"/>
                      <a:pt x="2698" y="0"/>
                    </a:cubicBezTo>
                    <a:lnTo>
                      <a:pt x="219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6" name="Freeform 7"/>
              <p:cNvSpPr/>
              <p:nvPr/>
            </p:nvSpPr>
            <p:spPr bwMode="auto">
              <a:xfrm>
                <a:off x="3438" y="2980"/>
                <a:ext cx="48" cy="32"/>
              </a:xfrm>
              <a:custGeom>
                <a:avLst/>
                <a:gdLst/>
                <a:ahLst/>
                <a:cxnLst/>
                <a:rect l="0" t="0" r="r" b="b"/>
                <a:pathLst>
                  <a:path w="2321" h="1540">
                    <a:moveTo>
                      <a:pt x="1916" y="0"/>
                    </a:moveTo>
                    <a:cubicBezTo>
                      <a:pt x="1891" y="0"/>
                      <a:pt x="1867" y="17"/>
                      <a:pt x="1860" y="42"/>
                    </a:cubicBezTo>
                    <a:cubicBezTo>
                      <a:pt x="1571" y="991"/>
                      <a:pt x="1571" y="991"/>
                      <a:pt x="1571" y="991"/>
                    </a:cubicBezTo>
                    <a:cubicBezTo>
                      <a:pt x="953" y="27"/>
                      <a:pt x="953" y="27"/>
                      <a:pt x="953" y="27"/>
                    </a:cubicBezTo>
                    <a:cubicBezTo>
                      <a:pt x="942" y="10"/>
                      <a:pt x="923" y="0"/>
                      <a:pt x="903" y="0"/>
                    </a:cubicBezTo>
                    <a:cubicBezTo>
                      <a:pt x="494" y="0"/>
                      <a:pt x="494" y="0"/>
                      <a:pt x="494" y="0"/>
                    </a:cubicBezTo>
                    <a:cubicBezTo>
                      <a:pt x="468" y="0"/>
                      <a:pt x="445" y="17"/>
                      <a:pt x="438" y="42"/>
                    </a:cubicBezTo>
                    <a:cubicBezTo>
                      <a:pt x="6" y="1463"/>
                      <a:pt x="6" y="1463"/>
                      <a:pt x="6" y="1463"/>
                    </a:cubicBezTo>
                    <a:cubicBezTo>
                      <a:pt x="0" y="1481"/>
                      <a:pt x="3" y="1500"/>
                      <a:pt x="15" y="1515"/>
                    </a:cubicBezTo>
                    <a:cubicBezTo>
                      <a:pt x="26" y="1531"/>
                      <a:pt x="44" y="1540"/>
                      <a:pt x="62" y="1540"/>
                    </a:cubicBezTo>
                    <a:cubicBezTo>
                      <a:pt x="404" y="1540"/>
                      <a:pt x="404" y="1540"/>
                      <a:pt x="404" y="1540"/>
                    </a:cubicBezTo>
                    <a:cubicBezTo>
                      <a:pt x="430" y="1540"/>
                      <a:pt x="454" y="1523"/>
                      <a:pt x="461" y="1498"/>
                    </a:cubicBezTo>
                    <a:cubicBezTo>
                      <a:pt x="750" y="548"/>
                      <a:pt x="750" y="548"/>
                      <a:pt x="750" y="548"/>
                    </a:cubicBezTo>
                    <a:cubicBezTo>
                      <a:pt x="1375" y="1513"/>
                      <a:pt x="1375" y="1513"/>
                      <a:pt x="1375" y="1513"/>
                    </a:cubicBezTo>
                    <a:cubicBezTo>
                      <a:pt x="1387" y="1530"/>
                      <a:pt x="1405" y="1540"/>
                      <a:pt x="1425" y="1540"/>
                    </a:cubicBezTo>
                    <a:cubicBezTo>
                      <a:pt x="1826" y="1540"/>
                      <a:pt x="1826" y="1540"/>
                      <a:pt x="1826" y="1540"/>
                    </a:cubicBezTo>
                    <a:cubicBezTo>
                      <a:pt x="1852" y="1540"/>
                      <a:pt x="1876" y="1523"/>
                      <a:pt x="1883" y="1498"/>
                    </a:cubicBezTo>
                    <a:cubicBezTo>
                      <a:pt x="2315" y="77"/>
                      <a:pt x="2315" y="77"/>
                      <a:pt x="2315" y="77"/>
                    </a:cubicBezTo>
                    <a:cubicBezTo>
                      <a:pt x="2321" y="59"/>
                      <a:pt x="2317" y="39"/>
                      <a:pt x="2306" y="24"/>
                    </a:cubicBezTo>
                    <a:cubicBezTo>
                      <a:pt x="2295" y="9"/>
                      <a:pt x="2277" y="0"/>
                      <a:pt x="2258" y="0"/>
                    </a:cubicBezTo>
                    <a:lnTo>
                      <a:pt x="191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7" name="Freeform 8"/>
              <p:cNvSpPr/>
              <p:nvPr/>
            </p:nvSpPr>
            <p:spPr bwMode="auto">
              <a:xfrm>
                <a:off x="3297" y="2980"/>
                <a:ext cx="44" cy="32"/>
              </a:xfrm>
              <a:custGeom>
                <a:avLst/>
                <a:gdLst/>
                <a:ahLst/>
                <a:cxnLst/>
                <a:rect l="0" t="0" r="r" b="b"/>
                <a:pathLst>
                  <a:path w="2130" h="1572">
                    <a:moveTo>
                      <a:pt x="1712" y="0"/>
                    </a:moveTo>
                    <a:cubicBezTo>
                      <a:pt x="1686" y="0"/>
                      <a:pt x="1663" y="17"/>
                      <a:pt x="1655" y="42"/>
                    </a:cubicBezTo>
                    <a:cubicBezTo>
                      <a:pt x="1411" y="840"/>
                      <a:pt x="1411" y="840"/>
                      <a:pt x="1411" y="840"/>
                    </a:cubicBezTo>
                    <a:cubicBezTo>
                      <a:pt x="1355" y="1023"/>
                      <a:pt x="1291" y="1231"/>
                      <a:pt x="861" y="1231"/>
                    </a:cubicBezTo>
                    <a:cubicBezTo>
                      <a:pt x="706" y="1231"/>
                      <a:pt x="603" y="1202"/>
                      <a:pt x="563" y="1148"/>
                    </a:cubicBezTo>
                    <a:cubicBezTo>
                      <a:pt x="518" y="1087"/>
                      <a:pt x="544" y="984"/>
                      <a:pt x="577" y="874"/>
                    </a:cubicBezTo>
                    <a:cubicBezTo>
                      <a:pt x="821" y="77"/>
                      <a:pt x="821" y="77"/>
                      <a:pt x="821" y="77"/>
                    </a:cubicBezTo>
                    <a:cubicBezTo>
                      <a:pt x="826" y="58"/>
                      <a:pt x="823" y="39"/>
                      <a:pt x="812" y="24"/>
                    </a:cubicBezTo>
                    <a:cubicBezTo>
                      <a:pt x="801" y="9"/>
                      <a:pt x="783" y="0"/>
                      <a:pt x="764" y="0"/>
                    </a:cubicBezTo>
                    <a:cubicBezTo>
                      <a:pt x="408" y="0"/>
                      <a:pt x="408" y="0"/>
                      <a:pt x="408" y="0"/>
                    </a:cubicBezTo>
                    <a:cubicBezTo>
                      <a:pt x="382" y="0"/>
                      <a:pt x="359" y="17"/>
                      <a:pt x="352" y="42"/>
                    </a:cubicBezTo>
                    <a:cubicBezTo>
                      <a:pt x="105" y="847"/>
                      <a:pt x="105" y="847"/>
                      <a:pt x="105" y="847"/>
                    </a:cubicBezTo>
                    <a:cubicBezTo>
                      <a:pt x="66" y="976"/>
                      <a:pt x="0" y="1191"/>
                      <a:pt x="123" y="1357"/>
                    </a:cubicBezTo>
                    <a:cubicBezTo>
                      <a:pt x="230" y="1501"/>
                      <a:pt x="449" y="1572"/>
                      <a:pt x="793" y="1572"/>
                    </a:cubicBezTo>
                    <a:cubicBezTo>
                      <a:pt x="1668" y="1572"/>
                      <a:pt x="1810" y="1106"/>
                      <a:pt x="1878" y="882"/>
                    </a:cubicBezTo>
                    <a:cubicBezTo>
                      <a:pt x="2125" y="77"/>
                      <a:pt x="2125" y="77"/>
                      <a:pt x="2125" y="77"/>
                    </a:cubicBezTo>
                    <a:cubicBezTo>
                      <a:pt x="2130" y="58"/>
                      <a:pt x="2127" y="39"/>
                      <a:pt x="2116" y="24"/>
                    </a:cubicBezTo>
                    <a:cubicBezTo>
                      <a:pt x="2105" y="9"/>
                      <a:pt x="2087" y="0"/>
                      <a:pt x="2068" y="0"/>
                    </a:cubicBezTo>
                    <a:lnTo>
                      <a:pt x="171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8" name="Freeform 9"/>
              <p:cNvSpPr>
                <a:spLocks noEditPoints="1"/>
              </p:cNvSpPr>
              <p:nvPr/>
            </p:nvSpPr>
            <p:spPr bwMode="auto">
              <a:xfrm>
                <a:off x="3391" y="2980"/>
                <a:ext cx="42" cy="32"/>
              </a:xfrm>
              <a:custGeom>
                <a:avLst/>
                <a:gdLst/>
                <a:ahLst/>
                <a:cxnLst/>
                <a:rect l="0" t="0" r="r" b="b"/>
                <a:pathLst>
                  <a:path w="2058" h="1540">
                    <a:moveTo>
                      <a:pt x="1250" y="0"/>
                    </a:moveTo>
                    <a:cubicBezTo>
                      <a:pt x="1233" y="0"/>
                      <a:pt x="1216" y="8"/>
                      <a:pt x="1205" y="21"/>
                    </a:cubicBezTo>
                    <a:cubicBezTo>
                      <a:pt x="18" y="1442"/>
                      <a:pt x="18" y="1442"/>
                      <a:pt x="18" y="1442"/>
                    </a:cubicBezTo>
                    <a:cubicBezTo>
                      <a:pt x="3" y="1459"/>
                      <a:pt x="0" y="1484"/>
                      <a:pt x="10" y="1505"/>
                    </a:cubicBezTo>
                    <a:cubicBezTo>
                      <a:pt x="20" y="1526"/>
                      <a:pt x="41" y="1540"/>
                      <a:pt x="63" y="1540"/>
                    </a:cubicBezTo>
                    <a:cubicBezTo>
                      <a:pt x="448" y="1540"/>
                      <a:pt x="448" y="1540"/>
                      <a:pt x="448" y="1540"/>
                    </a:cubicBezTo>
                    <a:cubicBezTo>
                      <a:pt x="466" y="1540"/>
                      <a:pt x="483" y="1532"/>
                      <a:pt x="494" y="1517"/>
                    </a:cubicBezTo>
                    <a:cubicBezTo>
                      <a:pt x="759" y="1187"/>
                      <a:pt x="759" y="1187"/>
                      <a:pt x="759" y="1187"/>
                    </a:cubicBezTo>
                    <a:cubicBezTo>
                      <a:pt x="1480" y="1187"/>
                      <a:pt x="1480" y="1187"/>
                      <a:pt x="1480" y="1187"/>
                    </a:cubicBezTo>
                    <a:cubicBezTo>
                      <a:pt x="1541" y="1492"/>
                      <a:pt x="1541" y="1492"/>
                      <a:pt x="1541" y="1492"/>
                    </a:cubicBezTo>
                    <a:cubicBezTo>
                      <a:pt x="1547" y="1519"/>
                      <a:pt x="1571" y="1540"/>
                      <a:pt x="1599" y="1540"/>
                    </a:cubicBezTo>
                    <a:cubicBezTo>
                      <a:pt x="1996" y="1540"/>
                      <a:pt x="1996" y="1540"/>
                      <a:pt x="1996" y="1540"/>
                    </a:cubicBezTo>
                    <a:cubicBezTo>
                      <a:pt x="2014" y="1540"/>
                      <a:pt x="2031" y="1532"/>
                      <a:pt x="2042" y="1517"/>
                    </a:cubicBezTo>
                    <a:cubicBezTo>
                      <a:pt x="2053" y="1503"/>
                      <a:pt x="2058" y="1484"/>
                      <a:pt x="2054" y="1467"/>
                    </a:cubicBezTo>
                    <a:cubicBezTo>
                      <a:pt x="1730" y="46"/>
                      <a:pt x="1730" y="46"/>
                      <a:pt x="1730" y="46"/>
                    </a:cubicBezTo>
                    <a:cubicBezTo>
                      <a:pt x="1724" y="19"/>
                      <a:pt x="1701" y="0"/>
                      <a:pt x="1673" y="0"/>
                    </a:cubicBezTo>
                    <a:lnTo>
                      <a:pt x="1250" y="0"/>
                    </a:lnTo>
                    <a:close/>
                    <a:moveTo>
                      <a:pt x="1360" y="392"/>
                    </a:moveTo>
                    <a:cubicBezTo>
                      <a:pt x="1446" y="868"/>
                      <a:pt x="1446" y="868"/>
                      <a:pt x="1446" y="868"/>
                    </a:cubicBezTo>
                    <a:cubicBezTo>
                      <a:pt x="982" y="868"/>
                      <a:pt x="982" y="868"/>
                      <a:pt x="982" y="868"/>
                    </a:cubicBezTo>
                    <a:cubicBezTo>
                      <a:pt x="1329" y="432"/>
                      <a:pt x="1329" y="432"/>
                      <a:pt x="1329" y="432"/>
                    </a:cubicBezTo>
                    <a:lnTo>
                      <a:pt x="1360" y="39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9" name="Freeform 10"/>
              <p:cNvSpPr/>
              <p:nvPr/>
            </p:nvSpPr>
            <p:spPr bwMode="auto">
              <a:xfrm>
                <a:off x="2890" y="2980"/>
                <a:ext cx="41" cy="32"/>
              </a:xfrm>
              <a:custGeom>
                <a:avLst/>
                <a:gdLst/>
                <a:ahLst/>
                <a:cxnLst/>
                <a:rect l="0" t="0" r="r" b="b"/>
                <a:pathLst>
                  <a:path w="2026" h="1540">
                    <a:moveTo>
                      <a:pt x="494" y="0"/>
                    </a:moveTo>
                    <a:cubicBezTo>
                      <a:pt x="468" y="0"/>
                      <a:pt x="445" y="17"/>
                      <a:pt x="437" y="42"/>
                    </a:cubicBezTo>
                    <a:cubicBezTo>
                      <a:pt x="5" y="1463"/>
                      <a:pt x="5" y="1463"/>
                      <a:pt x="5" y="1463"/>
                    </a:cubicBezTo>
                    <a:cubicBezTo>
                      <a:pt x="0" y="1481"/>
                      <a:pt x="3" y="1500"/>
                      <a:pt x="14" y="1516"/>
                    </a:cubicBezTo>
                    <a:cubicBezTo>
                      <a:pt x="26" y="1531"/>
                      <a:pt x="43" y="1540"/>
                      <a:pt x="62" y="1540"/>
                    </a:cubicBezTo>
                    <a:cubicBezTo>
                      <a:pt x="1553" y="1540"/>
                      <a:pt x="1553" y="1540"/>
                      <a:pt x="1553" y="1540"/>
                    </a:cubicBezTo>
                    <a:cubicBezTo>
                      <a:pt x="1579" y="1540"/>
                      <a:pt x="1602" y="1523"/>
                      <a:pt x="1610" y="1498"/>
                    </a:cubicBezTo>
                    <a:cubicBezTo>
                      <a:pt x="1678" y="1274"/>
                      <a:pt x="1678" y="1274"/>
                      <a:pt x="1678" y="1274"/>
                    </a:cubicBezTo>
                    <a:cubicBezTo>
                      <a:pt x="1683" y="1257"/>
                      <a:pt x="1680" y="1237"/>
                      <a:pt x="1669" y="1222"/>
                    </a:cubicBezTo>
                    <a:cubicBezTo>
                      <a:pt x="1658" y="1207"/>
                      <a:pt x="1640" y="1198"/>
                      <a:pt x="1621" y="1198"/>
                    </a:cubicBezTo>
                    <a:cubicBezTo>
                      <a:pt x="566" y="1198"/>
                      <a:pt x="566" y="1198"/>
                      <a:pt x="566" y="1198"/>
                    </a:cubicBezTo>
                    <a:cubicBezTo>
                      <a:pt x="649" y="923"/>
                      <a:pt x="649" y="923"/>
                      <a:pt x="649" y="923"/>
                    </a:cubicBezTo>
                    <a:cubicBezTo>
                      <a:pt x="1677" y="923"/>
                      <a:pt x="1677" y="923"/>
                      <a:pt x="1677" y="923"/>
                    </a:cubicBezTo>
                    <a:cubicBezTo>
                      <a:pt x="1703" y="923"/>
                      <a:pt x="1726" y="906"/>
                      <a:pt x="1733" y="881"/>
                    </a:cubicBezTo>
                    <a:cubicBezTo>
                      <a:pt x="1801" y="658"/>
                      <a:pt x="1801" y="658"/>
                      <a:pt x="1801" y="658"/>
                    </a:cubicBezTo>
                    <a:cubicBezTo>
                      <a:pt x="1803" y="652"/>
                      <a:pt x="1804" y="646"/>
                      <a:pt x="1804" y="641"/>
                    </a:cubicBezTo>
                    <a:cubicBezTo>
                      <a:pt x="1804" y="628"/>
                      <a:pt x="1800" y="616"/>
                      <a:pt x="1792" y="605"/>
                    </a:cubicBezTo>
                    <a:cubicBezTo>
                      <a:pt x="1781" y="590"/>
                      <a:pt x="1763" y="581"/>
                      <a:pt x="1744" y="581"/>
                    </a:cubicBezTo>
                    <a:cubicBezTo>
                      <a:pt x="754" y="581"/>
                      <a:pt x="754" y="581"/>
                      <a:pt x="754" y="581"/>
                    </a:cubicBezTo>
                    <a:cubicBezTo>
                      <a:pt x="826" y="342"/>
                      <a:pt x="826" y="342"/>
                      <a:pt x="826" y="342"/>
                    </a:cubicBezTo>
                    <a:cubicBezTo>
                      <a:pt x="1899" y="342"/>
                      <a:pt x="1899" y="342"/>
                      <a:pt x="1899" y="342"/>
                    </a:cubicBezTo>
                    <a:cubicBezTo>
                      <a:pt x="1925" y="342"/>
                      <a:pt x="1948" y="325"/>
                      <a:pt x="1955" y="300"/>
                    </a:cubicBezTo>
                    <a:cubicBezTo>
                      <a:pt x="2023" y="77"/>
                      <a:pt x="2023" y="77"/>
                      <a:pt x="2023" y="77"/>
                    </a:cubicBezTo>
                    <a:cubicBezTo>
                      <a:pt x="2025" y="71"/>
                      <a:pt x="2026" y="66"/>
                      <a:pt x="2026" y="60"/>
                    </a:cubicBezTo>
                    <a:cubicBezTo>
                      <a:pt x="2026" y="47"/>
                      <a:pt x="2022" y="34"/>
                      <a:pt x="2014" y="24"/>
                    </a:cubicBezTo>
                    <a:cubicBezTo>
                      <a:pt x="2003" y="9"/>
                      <a:pt x="1985" y="0"/>
                      <a:pt x="1966" y="0"/>
                    </a:cubicBezTo>
                    <a:lnTo>
                      <a:pt x="49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0" name="Freeform 11"/>
              <p:cNvSpPr>
                <a:spLocks noEditPoints="1"/>
              </p:cNvSpPr>
              <p:nvPr/>
            </p:nvSpPr>
            <p:spPr bwMode="auto">
              <a:xfrm>
                <a:off x="2789" y="2979"/>
                <a:ext cx="46" cy="33"/>
              </a:xfrm>
              <a:custGeom>
                <a:avLst/>
                <a:gdLst/>
                <a:ahLst/>
                <a:cxnLst/>
                <a:rect l="0" t="0" r="r" b="b"/>
                <a:pathLst>
                  <a:path w="2240" h="1611">
                    <a:moveTo>
                      <a:pt x="66" y="788"/>
                    </a:moveTo>
                    <a:cubicBezTo>
                      <a:pt x="0" y="1006"/>
                      <a:pt x="20" y="1196"/>
                      <a:pt x="125" y="1338"/>
                    </a:cubicBezTo>
                    <a:cubicBezTo>
                      <a:pt x="259" y="1519"/>
                      <a:pt x="517" y="1611"/>
                      <a:pt x="892" y="1611"/>
                    </a:cubicBezTo>
                    <a:cubicBezTo>
                      <a:pt x="1544" y="1611"/>
                      <a:pt x="2023" y="1316"/>
                      <a:pt x="2174" y="823"/>
                    </a:cubicBezTo>
                    <a:cubicBezTo>
                      <a:pt x="2240" y="605"/>
                      <a:pt x="2220" y="415"/>
                      <a:pt x="2115" y="273"/>
                    </a:cubicBezTo>
                    <a:cubicBezTo>
                      <a:pt x="1981" y="92"/>
                      <a:pt x="1723" y="0"/>
                      <a:pt x="1348" y="0"/>
                    </a:cubicBezTo>
                    <a:cubicBezTo>
                      <a:pt x="696" y="0"/>
                      <a:pt x="217" y="295"/>
                      <a:pt x="66" y="788"/>
                    </a:cubicBezTo>
                    <a:close/>
                    <a:moveTo>
                      <a:pt x="576" y="1133"/>
                    </a:moveTo>
                    <a:cubicBezTo>
                      <a:pt x="505" y="1037"/>
                      <a:pt x="523" y="911"/>
                      <a:pt x="550" y="823"/>
                    </a:cubicBezTo>
                    <a:cubicBezTo>
                      <a:pt x="641" y="525"/>
                      <a:pt x="921" y="340"/>
                      <a:pt x="1280" y="340"/>
                    </a:cubicBezTo>
                    <a:cubicBezTo>
                      <a:pt x="1465" y="340"/>
                      <a:pt x="1597" y="388"/>
                      <a:pt x="1664" y="478"/>
                    </a:cubicBezTo>
                    <a:cubicBezTo>
                      <a:pt x="1701" y="528"/>
                      <a:pt x="1714" y="586"/>
                      <a:pt x="1714" y="643"/>
                    </a:cubicBezTo>
                    <a:cubicBezTo>
                      <a:pt x="1714" y="695"/>
                      <a:pt x="1703" y="746"/>
                      <a:pt x="1690" y="788"/>
                    </a:cubicBezTo>
                    <a:cubicBezTo>
                      <a:pt x="1599" y="1086"/>
                      <a:pt x="1319" y="1270"/>
                      <a:pt x="960" y="1270"/>
                    </a:cubicBezTo>
                    <a:cubicBezTo>
                      <a:pt x="775" y="1270"/>
                      <a:pt x="643" y="1223"/>
                      <a:pt x="576" y="113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1" name="Freeform 12"/>
              <p:cNvSpPr>
                <a:spLocks noEditPoints="1"/>
              </p:cNvSpPr>
              <p:nvPr/>
            </p:nvSpPr>
            <p:spPr bwMode="auto">
              <a:xfrm>
                <a:off x="2742" y="2977"/>
                <a:ext cx="46" cy="35"/>
              </a:xfrm>
              <a:custGeom>
                <a:avLst/>
                <a:gdLst/>
                <a:ahLst/>
                <a:cxnLst/>
                <a:rect l="0" t="0" r="r" b="b"/>
                <a:pathLst>
                  <a:path w="2258" h="1694">
                    <a:moveTo>
                      <a:pt x="544" y="0"/>
                    </a:moveTo>
                    <a:cubicBezTo>
                      <a:pt x="518" y="0"/>
                      <a:pt x="495" y="17"/>
                      <a:pt x="487" y="43"/>
                    </a:cubicBezTo>
                    <a:cubicBezTo>
                      <a:pt x="5" y="1616"/>
                      <a:pt x="5" y="1616"/>
                      <a:pt x="5" y="1616"/>
                    </a:cubicBezTo>
                    <a:cubicBezTo>
                      <a:pt x="0" y="1634"/>
                      <a:pt x="4" y="1654"/>
                      <a:pt x="15" y="1669"/>
                    </a:cubicBezTo>
                    <a:cubicBezTo>
                      <a:pt x="26" y="1685"/>
                      <a:pt x="44" y="1694"/>
                      <a:pt x="63" y="1694"/>
                    </a:cubicBezTo>
                    <a:cubicBezTo>
                      <a:pt x="460" y="1694"/>
                      <a:pt x="460" y="1694"/>
                      <a:pt x="460" y="1694"/>
                    </a:cubicBezTo>
                    <a:cubicBezTo>
                      <a:pt x="486" y="1694"/>
                      <a:pt x="510" y="1676"/>
                      <a:pt x="517" y="1651"/>
                    </a:cubicBezTo>
                    <a:cubicBezTo>
                      <a:pt x="688" y="1094"/>
                      <a:pt x="688" y="1094"/>
                      <a:pt x="688" y="1094"/>
                    </a:cubicBezTo>
                    <a:cubicBezTo>
                      <a:pt x="1416" y="1094"/>
                      <a:pt x="1416" y="1094"/>
                      <a:pt x="1416" y="1094"/>
                    </a:cubicBezTo>
                    <a:cubicBezTo>
                      <a:pt x="1866" y="1094"/>
                      <a:pt x="2149" y="829"/>
                      <a:pt x="2229" y="567"/>
                    </a:cubicBezTo>
                    <a:cubicBezTo>
                      <a:pt x="2248" y="504"/>
                      <a:pt x="2258" y="445"/>
                      <a:pt x="2258" y="391"/>
                    </a:cubicBezTo>
                    <a:cubicBezTo>
                      <a:pt x="2258" y="308"/>
                      <a:pt x="2236" y="234"/>
                      <a:pt x="2192" y="175"/>
                    </a:cubicBezTo>
                    <a:cubicBezTo>
                      <a:pt x="2106" y="59"/>
                      <a:pt x="1943" y="0"/>
                      <a:pt x="1708" y="0"/>
                    </a:cubicBezTo>
                    <a:lnTo>
                      <a:pt x="544" y="0"/>
                    </a:lnTo>
                    <a:close/>
                    <a:moveTo>
                      <a:pt x="1532" y="344"/>
                    </a:moveTo>
                    <a:cubicBezTo>
                      <a:pt x="1633" y="344"/>
                      <a:pt x="1702" y="366"/>
                      <a:pt x="1733" y="406"/>
                    </a:cubicBezTo>
                    <a:cubicBezTo>
                      <a:pt x="1745" y="423"/>
                      <a:pt x="1751" y="445"/>
                      <a:pt x="1751" y="470"/>
                    </a:cubicBezTo>
                    <a:cubicBezTo>
                      <a:pt x="1739" y="538"/>
                      <a:pt x="1739" y="538"/>
                      <a:pt x="1739" y="538"/>
                    </a:cubicBezTo>
                    <a:cubicBezTo>
                      <a:pt x="1692" y="692"/>
                      <a:pt x="1588" y="750"/>
                      <a:pt x="1356" y="750"/>
                    </a:cubicBezTo>
                    <a:cubicBezTo>
                      <a:pt x="770" y="750"/>
                      <a:pt x="770" y="750"/>
                      <a:pt x="770" y="750"/>
                    </a:cubicBezTo>
                    <a:cubicBezTo>
                      <a:pt x="893" y="344"/>
                      <a:pt x="893" y="344"/>
                      <a:pt x="893" y="344"/>
                    </a:cubicBezTo>
                    <a:lnTo>
                      <a:pt x="1532" y="3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2" name="Freeform 13"/>
              <p:cNvSpPr>
                <a:spLocks noEditPoints="1"/>
              </p:cNvSpPr>
              <p:nvPr/>
            </p:nvSpPr>
            <p:spPr bwMode="auto">
              <a:xfrm>
                <a:off x="2929" y="2980"/>
                <a:ext cx="44" cy="32"/>
              </a:xfrm>
              <a:custGeom>
                <a:avLst/>
                <a:gdLst/>
                <a:ahLst/>
                <a:cxnLst/>
                <a:rect l="0" t="0" r="r" b="b"/>
                <a:pathLst>
                  <a:path w="2166" h="1540">
                    <a:moveTo>
                      <a:pt x="1782" y="1508"/>
                    </a:moveTo>
                    <a:cubicBezTo>
                      <a:pt x="1765" y="1528"/>
                      <a:pt x="1740" y="1540"/>
                      <a:pt x="1718" y="1540"/>
                    </a:cubicBezTo>
                    <a:cubicBezTo>
                      <a:pt x="1322" y="1540"/>
                      <a:pt x="1322" y="1540"/>
                      <a:pt x="1322" y="1540"/>
                    </a:cubicBezTo>
                    <a:cubicBezTo>
                      <a:pt x="1300" y="1540"/>
                      <a:pt x="1282" y="1527"/>
                      <a:pt x="1277" y="1507"/>
                    </a:cubicBezTo>
                    <a:cubicBezTo>
                      <a:pt x="1153" y="981"/>
                      <a:pt x="1153" y="981"/>
                      <a:pt x="1153" y="981"/>
                    </a:cubicBezTo>
                    <a:cubicBezTo>
                      <a:pt x="642" y="981"/>
                      <a:pt x="642" y="981"/>
                      <a:pt x="642" y="981"/>
                    </a:cubicBezTo>
                    <a:cubicBezTo>
                      <a:pt x="491" y="1477"/>
                      <a:pt x="491" y="1477"/>
                      <a:pt x="491" y="1477"/>
                    </a:cubicBezTo>
                    <a:cubicBezTo>
                      <a:pt x="481" y="1511"/>
                      <a:pt x="444" y="1540"/>
                      <a:pt x="409" y="1540"/>
                    </a:cubicBezTo>
                    <a:cubicBezTo>
                      <a:pt x="54" y="1540"/>
                      <a:pt x="54" y="1540"/>
                      <a:pt x="54" y="1540"/>
                    </a:cubicBezTo>
                    <a:cubicBezTo>
                      <a:pt x="19" y="1540"/>
                      <a:pt x="0" y="1511"/>
                      <a:pt x="10" y="1477"/>
                    </a:cubicBezTo>
                    <a:cubicBezTo>
                      <a:pt x="441" y="63"/>
                      <a:pt x="441" y="63"/>
                      <a:pt x="441" y="63"/>
                    </a:cubicBezTo>
                    <a:cubicBezTo>
                      <a:pt x="452" y="28"/>
                      <a:pt x="489" y="0"/>
                      <a:pt x="523" y="0"/>
                    </a:cubicBezTo>
                    <a:cubicBezTo>
                      <a:pt x="1593" y="0"/>
                      <a:pt x="1593" y="0"/>
                      <a:pt x="1593" y="0"/>
                    </a:cubicBezTo>
                    <a:cubicBezTo>
                      <a:pt x="2166" y="0"/>
                      <a:pt x="2124" y="337"/>
                      <a:pt x="2080" y="482"/>
                    </a:cubicBezTo>
                    <a:cubicBezTo>
                      <a:pt x="2017" y="690"/>
                      <a:pt x="1820" y="847"/>
                      <a:pt x="1658" y="895"/>
                    </a:cubicBezTo>
                    <a:cubicBezTo>
                      <a:pt x="1802" y="1445"/>
                      <a:pt x="1802" y="1445"/>
                      <a:pt x="1802" y="1445"/>
                    </a:cubicBezTo>
                    <a:cubicBezTo>
                      <a:pt x="1807" y="1465"/>
                      <a:pt x="1799" y="1489"/>
                      <a:pt x="1782" y="1508"/>
                    </a:cubicBezTo>
                    <a:close/>
                    <a:moveTo>
                      <a:pt x="836" y="325"/>
                    </a:moveTo>
                    <a:cubicBezTo>
                      <a:pt x="819" y="325"/>
                      <a:pt x="819" y="325"/>
                      <a:pt x="819" y="325"/>
                    </a:cubicBezTo>
                    <a:cubicBezTo>
                      <a:pt x="718" y="656"/>
                      <a:pt x="718" y="656"/>
                      <a:pt x="718" y="656"/>
                    </a:cubicBezTo>
                    <a:cubicBezTo>
                      <a:pt x="1298" y="656"/>
                      <a:pt x="1298" y="656"/>
                      <a:pt x="1298" y="656"/>
                    </a:cubicBezTo>
                    <a:cubicBezTo>
                      <a:pt x="1535" y="656"/>
                      <a:pt x="1578" y="580"/>
                      <a:pt x="1604" y="495"/>
                    </a:cubicBezTo>
                    <a:cubicBezTo>
                      <a:pt x="1611" y="471"/>
                      <a:pt x="1625" y="427"/>
                      <a:pt x="1595" y="387"/>
                    </a:cubicBezTo>
                    <a:cubicBezTo>
                      <a:pt x="1564" y="346"/>
                      <a:pt x="1495" y="325"/>
                      <a:pt x="1385" y="325"/>
                    </a:cubicBezTo>
                    <a:lnTo>
                      <a:pt x="836" y="3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3" name="Freeform 14"/>
              <p:cNvSpPr/>
              <p:nvPr/>
            </p:nvSpPr>
            <p:spPr bwMode="auto">
              <a:xfrm>
                <a:off x="2839" y="2980"/>
                <a:ext cx="54" cy="32"/>
              </a:xfrm>
              <a:custGeom>
                <a:avLst/>
                <a:gdLst/>
                <a:ahLst/>
                <a:cxnLst/>
                <a:rect l="0" t="0" r="r" b="b"/>
                <a:pathLst>
                  <a:path w="2624" h="1540">
                    <a:moveTo>
                      <a:pt x="1579" y="930"/>
                    </a:moveTo>
                    <a:cubicBezTo>
                      <a:pt x="2154" y="19"/>
                      <a:pt x="2154" y="19"/>
                      <a:pt x="2154" y="19"/>
                    </a:cubicBezTo>
                    <a:cubicBezTo>
                      <a:pt x="2162" y="7"/>
                      <a:pt x="2175" y="0"/>
                      <a:pt x="2189" y="0"/>
                    </a:cubicBezTo>
                    <a:cubicBezTo>
                      <a:pt x="2581" y="0"/>
                      <a:pt x="2581" y="0"/>
                      <a:pt x="2581" y="0"/>
                    </a:cubicBezTo>
                    <a:cubicBezTo>
                      <a:pt x="2596" y="0"/>
                      <a:pt x="2610" y="8"/>
                      <a:pt x="2617" y="22"/>
                    </a:cubicBezTo>
                    <a:cubicBezTo>
                      <a:pt x="2624" y="36"/>
                      <a:pt x="2624" y="52"/>
                      <a:pt x="2615" y="65"/>
                    </a:cubicBezTo>
                    <a:cubicBezTo>
                      <a:pt x="1623" y="1521"/>
                      <a:pt x="1623" y="1521"/>
                      <a:pt x="1623" y="1521"/>
                    </a:cubicBezTo>
                    <a:cubicBezTo>
                      <a:pt x="1615" y="1533"/>
                      <a:pt x="1603" y="1540"/>
                      <a:pt x="1589" y="1540"/>
                    </a:cubicBezTo>
                    <a:cubicBezTo>
                      <a:pt x="1194" y="1540"/>
                      <a:pt x="1194" y="1540"/>
                      <a:pt x="1194" y="1540"/>
                    </a:cubicBezTo>
                    <a:cubicBezTo>
                      <a:pt x="1183" y="1540"/>
                      <a:pt x="1172" y="1535"/>
                      <a:pt x="1165" y="1528"/>
                    </a:cubicBezTo>
                    <a:cubicBezTo>
                      <a:pt x="1157" y="1519"/>
                      <a:pt x="1153" y="1509"/>
                      <a:pt x="1153" y="1498"/>
                    </a:cubicBezTo>
                    <a:cubicBezTo>
                      <a:pt x="1158" y="556"/>
                      <a:pt x="1158" y="556"/>
                      <a:pt x="1158" y="556"/>
                    </a:cubicBezTo>
                    <a:cubicBezTo>
                      <a:pt x="578" y="1519"/>
                      <a:pt x="578" y="1519"/>
                      <a:pt x="578" y="1519"/>
                    </a:cubicBezTo>
                    <a:cubicBezTo>
                      <a:pt x="571" y="1532"/>
                      <a:pt x="557" y="1540"/>
                      <a:pt x="542" y="1540"/>
                    </a:cubicBezTo>
                    <a:cubicBezTo>
                      <a:pt x="137" y="1540"/>
                      <a:pt x="137" y="1540"/>
                      <a:pt x="137" y="1540"/>
                    </a:cubicBezTo>
                    <a:cubicBezTo>
                      <a:pt x="115" y="1540"/>
                      <a:pt x="98" y="1523"/>
                      <a:pt x="96" y="1501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33"/>
                      <a:pt x="4" y="21"/>
                      <a:pt x="12" y="13"/>
                    </a:cubicBezTo>
                    <a:cubicBezTo>
                      <a:pt x="19" y="5"/>
                      <a:pt x="31" y="0"/>
                      <a:pt x="42" y="0"/>
                    </a:cubicBezTo>
                    <a:cubicBezTo>
                      <a:pt x="450" y="0"/>
                      <a:pt x="450" y="0"/>
                      <a:pt x="450" y="0"/>
                    </a:cubicBezTo>
                    <a:cubicBezTo>
                      <a:pt x="473" y="0"/>
                      <a:pt x="492" y="18"/>
                      <a:pt x="492" y="41"/>
                    </a:cubicBezTo>
                    <a:cubicBezTo>
                      <a:pt x="500" y="994"/>
                      <a:pt x="500" y="994"/>
                      <a:pt x="500" y="994"/>
                    </a:cubicBezTo>
                    <a:cubicBezTo>
                      <a:pt x="1090" y="20"/>
                      <a:pt x="1090" y="20"/>
                      <a:pt x="1090" y="20"/>
                    </a:cubicBezTo>
                    <a:cubicBezTo>
                      <a:pt x="1098" y="8"/>
                      <a:pt x="1111" y="0"/>
                      <a:pt x="1125" y="0"/>
                    </a:cubicBezTo>
                    <a:cubicBezTo>
                      <a:pt x="1514" y="0"/>
                      <a:pt x="1514" y="0"/>
                      <a:pt x="1514" y="0"/>
                    </a:cubicBezTo>
                    <a:cubicBezTo>
                      <a:pt x="1525" y="0"/>
                      <a:pt x="1536" y="4"/>
                      <a:pt x="1543" y="12"/>
                    </a:cubicBezTo>
                    <a:cubicBezTo>
                      <a:pt x="1551" y="20"/>
                      <a:pt x="1556" y="30"/>
                      <a:pt x="1556" y="41"/>
                    </a:cubicBezTo>
                    <a:cubicBezTo>
                      <a:pt x="1539" y="993"/>
                      <a:pt x="1539" y="993"/>
                      <a:pt x="1539" y="993"/>
                    </a:cubicBezTo>
                    <a:lnTo>
                      <a:pt x="1579" y="93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4" name="Freeform 15"/>
              <p:cNvSpPr/>
              <p:nvPr/>
            </p:nvSpPr>
            <p:spPr bwMode="auto">
              <a:xfrm>
                <a:off x="3645" y="2979"/>
                <a:ext cx="44" cy="33"/>
              </a:xfrm>
              <a:custGeom>
                <a:avLst/>
                <a:gdLst/>
                <a:ahLst/>
                <a:cxnLst/>
                <a:rect l="0" t="0" r="r" b="b"/>
                <a:pathLst>
                  <a:path w="2139" h="1611">
                    <a:moveTo>
                      <a:pt x="67" y="788"/>
                    </a:moveTo>
                    <a:cubicBezTo>
                      <a:pt x="0" y="1006"/>
                      <a:pt x="23" y="1206"/>
                      <a:pt x="131" y="1352"/>
                    </a:cubicBezTo>
                    <a:cubicBezTo>
                      <a:pt x="219" y="1470"/>
                      <a:pt x="406" y="1611"/>
                      <a:pt x="801" y="1611"/>
                    </a:cubicBezTo>
                    <a:cubicBezTo>
                      <a:pt x="1547" y="1611"/>
                      <a:pt x="1865" y="1277"/>
                      <a:pt x="2000" y="997"/>
                    </a:cubicBezTo>
                    <a:cubicBezTo>
                      <a:pt x="2009" y="979"/>
                      <a:pt x="2008" y="957"/>
                      <a:pt x="1997" y="940"/>
                    </a:cubicBezTo>
                    <a:cubicBezTo>
                      <a:pt x="1986" y="923"/>
                      <a:pt x="1967" y="912"/>
                      <a:pt x="1947" y="912"/>
                    </a:cubicBezTo>
                    <a:cubicBezTo>
                      <a:pt x="1562" y="912"/>
                      <a:pt x="1562" y="912"/>
                      <a:pt x="1562" y="912"/>
                    </a:cubicBezTo>
                    <a:cubicBezTo>
                      <a:pt x="1539" y="912"/>
                      <a:pt x="1519" y="925"/>
                      <a:pt x="1509" y="945"/>
                    </a:cubicBezTo>
                    <a:cubicBezTo>
                      <a:pt x="1460" y="1043"/>
                      <a:pt x="1306" y="1270"/>
                      <a:pt x="930" y="1270"/>
                    </a:cubicBezTo>
                    <a:cubicBezTo>
                      <a:pt x="765" y="1270"/>
                      <a:pt x="638" y="1222"/>
                      <a:pt x="573" y="1134"/>
                    </a:cubicBezTo>
                    <a:cubicBezTo>
                      <a:pt x="519" y="1061"/>
                      <a:pt x="508" y="962"/>
                      <a:pt x="543" y="848"/>
                    </a:cubicBezTo>
                    <a:cubicBezTo>
                      <a:pt x="641" y="530"/>
                      <a:pt x="896" y="340"/>
                      <a:pt x="1227" y="340"/>
                    </a:cubicBezTo>
                    <a:cubicBezTo>
                      <a:pt x="1386" y="340"/>
                      <a:pt x="1507" y="379"/>
                      <a:pt x="1568" y="448"/>
                    </a:cubicBezTo>
                    <a:cubicBezTo>
                      <a:pt x="1605" y="491"/>
                      <a:pt x="1619" y="547"/>
                      <a:pt x="1610" y="613"/>
                    </a:cubicBezTo>
                    <a:cubicBezTo>
                      <a:pt x="1608" y="630"/>
                      <a:pt x="1613" y="647"/>
                      <a:pt x="1624" y="660"/>
                    </a:cubicBezTo>
                    <a:cubicBezTo>
                      <a:pt x="1636" y="673"/>
                      <a:pt x="1652" y="681"/>
                      <a:pt x="1669" y="681"/>
                    </a:cubicBezTo>
                    <a:cubicBezTo>
                      <a:pt x="2054" y="681"/>
                      <a:pt x="2054" y="681"/>
                      <a:pt x="2054" y="681"/>
                    </a:cubicBezTo>
                    <a:cubicBezTo>
                      <a:pt x="2082" y="681"/>
                      <a:pt x="2107" y="660"/>
                      <a:pt x="2112" y="632"/>
                    </a:cubicBezTo>
                    <a:cubicBezTo>
                      <a:pt x="2139" y="484"/>
                      <a:pt x="2106" y="349"/>
                      <a:pt x="2017" y="243"/>
                    </a:cubicBezTo>
                    <a:cubicBezTo>
                      <a:pt x="1885" y="84"/>
                      <a:pt x="1636" y="0"/>
                      <a:pt x="1299" y="0"/>
                    </a:cubicBezTo>
                    <a:cubicBezTo>
                      <a:pt x="568" y="0"/>
                      <a:pt x="184" y="407"/>
                      <a:pt x="67" y="78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5" name="Freeform 16"/>
              <p:cNvSpPr/>
              <p:nvPr/>
            </p:nvSpPr>
            <p:spPr bwMode="auto">
              <a:xfrm>
                <a:off x="3602" y="2980"/>
                <a:ext cx="43" cy="32"/>
              </a:xfrm>
              <a:custGeom>
                <a:avLst/>
                <a:gdLst/>
                <a:ahLst/>
                <a:cxnLst/>
                <a:rect l="0" t="0" r="r" b="b"/>
                <a:pathLst>
                  <a:path w="2130" h="1572">
                    <a:moveTo>
                      <a:pt x="1711" y="0"/>
                    </a:moveTo>
                    <a:cubicBezTo>
                      <a:pt x="1685" y="0"/>
                      <a:pt x="1662" y="17"/>
                      <a:pt x="1654" y="42"/>
                    </a:cubicBezTo>
                    <a:cubicBezTo>
                      <a:pt x="1411" y="840"/>
                      <a:pt x="1411" y="840"/>
                      <a:pt x="1411" y="840"/>
                    </a:cubicBezTo>
                    <a:cubicBezTo>
                      <a:pt x="1355" y="1023"/>
                      <a:pt x="1291" y="1231"/>
                      <a:pt x="860" y="1231"/>
                    </a:cubicBezTo>
                    <a:cubicBezTo>
                      <a:pt x="705" y="1231"/>
                      <a:pt x="602" y="1202"/>
                      <a:pt x="562" y="1148"/>
                    </a:cubicBezTo>
                    <a:cubicBezTo>
                      <a:pt x="517" y="1087"/>
                      <a:pt x="543" y="984"/>
                      <a:pt x="577" y="874"/>
                    </a:cubicBezTo>
                    <a:cubicBezTo>
                      <a:pt x="821" y="77"/>
                      <a:pt x="821" y="77"/>
                      <a:pt x="821" y="77"/>
                    </a:cubicBezTo>
                    <a:cubicBezTo>
                      <a:pt x="826" y="58"/>
                      <a:pt x="823" y="39"/>
                      <a:pt x="812" y="24"/>
                    </a:cubicBezTo>
                    <a:cubicBezTo>
                      <a:pt x="800" y="9"/>
                      <a:pt x="783" y="0"/>
                      <a:pt x="764" y="0"/>
                    </a:cubicBezTo>
                    <a:cubicBezTo>
                      <a:pt x="408" y="0"/>
                      <a:pt x="408" y="0"/>
                      <a:pt x="408" y="0"/>
                    </a:cubicBezTo>
                    <a:cubicBezTo>
                      <a:pt x="382" y="0"/>
                      <a:pt x="359" y="17"/>
                      <a:pt x="351" y="42"/>
                    </a:cubicBezTo>
                    <a:cubicBezTo>
                      <a:pt x="105" y="847"/>
                      <a:pt x="105" y="847"/>
                      <a:pt x="105" y="847"/>
                    </a:cubicBezTo>
                    <a:cubicBezTo>
                      <a:pt x="65" y="976"/>
                      <a:pt x="0" y="1191"/>
                      <a:pt x="123" y="1357"/>
                    </a:cubicBezTo>
                    <a:cubicBezTo>
                      <a:pt x="230" y="1501"/>
                      <a:pt x="449" y="1572"/>
                      <a:pt x="792" y="1572"/>
                    </a:cubicBezTo>
                    <a:cubicBezTo>
                      <a:pt x="1667" y="1572"/>
                      <a:pt x="1809" y="1106"/>
                      <a:pt x="1878" y="882"/>
                    </a:cubicBezTo>
                    <a:cubicBezTo>
                      <a:pt x="2124" y="77"/>
                      <a:pt x="2124" y="77"/>
                      <a:pt x="2124" y="77"/>
                    </a:cubicBezTo>
                    <a:cubicBezTo>
                      <a:pt x="2130" y="58"/>
                      <a:pt x="2126" y="39"/>
                      <a:pt x="2115" y="24"/>
                    </a:cubicBezTo>
                    <a:cubicBezTo>
                      <a:pt x="2104" y="9"/>
                      <a:pt x="2086" y="0"/>
                      <a:pt x="2067" y="0"/>
                    </a:cubicBezTo>
                    <a:lnTo>
                      <a:pt x="171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6" name="Freeform 17"/>
              <p:cNvSpPr>
                <a:spLocks noEditPoints="1"/>
              </p:cNvSpPr>
              <p:nvPr/>
            </p:nvSpPr>
            <p:spPr bwMode="auto">
              <a:xfrm>
                <a:off x="3554" y="2979"/>
                <a:ext cx="46" cy="33"/>
              </a:xfrm>
              <a:custGeom>
                <a:avLst/>
                <a:gdLst/>
                <a:ahLst/>
                <a:cxnLst/>
                <a:rect l="0" t="0" r="r" b="b"/>
                <a:pathLst>
                  <a:path w="2241" h="1611">
                    <a:moveTo>
                      <a:pt x="66" y="788"/>
                    </a:moveTo>
                    <a:cubicBezTo>
                      <a:pt x="0" y="1006"/>
                      <a:pt x="20" y="1196"/>
                      <a:pt x="126" y="1338"/>
                    </a:cubicBezTo>
                    <a:cubicBezTo>
                      <a:pt x="260" y="1519"/>
                      <a:pt x="518" y="1611"/>
                      <a:pt x="892" y="1611"/>
                    </a:cubicBezTo>
                    <a:cubicBezTo>
                      <a:pt x="1544" y="1611"/>
                      <a:pt x="2024" y="1316"/>
                      <a:pt x="2175" y="823"/>
                    </a:cubicBezTo>
                    <a:cubicBezTo>
                      <a:pt x="2241" y="605"/>
                      <a:pt x="2221" y="415"/>
                      <a:pt x="2115" y="273"/>
                    </a:cubicBezTo>
                    <a:cubicBezTo>
                      <a:pt x="1982" y="92"/>
                      <a:pt x="1723" y="0"/>
                      <a:pt x="1349" y="0"/>
                    </a:cubicBezTo>
                    <a:cubicBezTo>
                      <a:pt x="697" y="0"/>
                      <a:pt x="217" y="295"/>
                      <a:pt x="66" y="788"/>
                    </a:cubicBezTo>
                    <a:close/>
                    <a:moveTo>
                      <a:pt x="576" y="1133"/>
                    </a:moveTo>
                    <a:cubicBezTo>
                      <a:pt x="506" y="1037"/>
                      <a:pt x="523" y="911"/>
                      <a:pt x="551" y="823"/>
                    </a:cubicBezTo>
                    <a:cubicBezTo>
                      <a:pt x="642" y="525"/>
                      <a:pt x="922" y="340"/>
                      <a:pt x="1281" y="340"/>
                    </a:cubicBezTo>
                    <a:cubicBezTo>
                      <a:pt x="1465" y="340"/>
                      <a:pt x="1598" y="388"/>
                      <a:pt x="1665" y="478"/>
                    </a:cubicBezTo>
                    <a:cubicBezTo>
                      <a:pt x="1702" y="528"/>
                      <a:pt x="1714" y="586"/>
                      <a:pt x="1714" y="643"/>
                    </a:cubicBezTo>
                    <a:cubicBezTo>
                      <a:pt x="1714" y="695"/>
                      <a:pt x="1703" y="746"/>
                      <a:pt x="1691" y="788"/>
                    </a:cubicBezTo>
                    <a:cubicBezTo>
                      <a:pt x="1600" y="1086"/>
                      <a:pt x="1320" y="1270"/>
                      <a:pt x="960" y="1270"/>
                    </a:cubicBezTo>
                    <a:cubicBezTo>
                      <a:pt x="776" y="1270"/>
                      <a:pt x="643" y="1223"/>
                      <a:pt x="576" y="113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7" name="Freeform 18"/>
              <p:cNvSpPr/>
              <p:nvPr/>
            </p:nvSpPr>
            <p:spPr bwMode="auto">
              <a:xfrm>
                <a:off x="3513" y="2977"/>
                <a:ext cx="41" cy="35"/>
              </a:xfrm>
              <a:custGeom>
                <a:avLst/>
                <a:gdLst/>
                <a:ahLst/>
                <a:cxnLst/>
                <a:rect l="0" t="0" r="r" b="b"/>
                <a:pathLst>
                  <a:path w="2013" h="1694">
                    <a:moveTo>
                      <a:pt x="138" y="0"/>
                    </a:moveTo>
                    <a:cubicBezTo>
                      <a:pt x="112" y="0"/>
                      <a:pt x="89" y="17"/>
                      <a:pt x="81" y="43"/>
                    </a:cubicBezTo>
                    <a:cubicBezTo>
                      <a:pt x="6" y="289"/>
                      <a:pt x="6" y="289"/>
                      <a:pt x="6" y="289"/>
                    </a:cubicBezTo>
                    <a:cubicBezTo>
                      <a:pt x="0" y="307"/>
                      <a:pt x="3" y="327"/>
                      <a:pt x="15" y="343"/>
                    </a:cubicBezTo>
                    <a:cubicBezTo>
                      <a:pt x="26" y="358"/>
                      <a:pt x="44" y="367"/>
                      <a:pt x="63" y="367"/>
                    </a:cubicBezTo>
                    <a:cubicBezTo>
                      <a:pt x="691" y="367"/>
                      <a:pt x="691" y="367"/>
                      <a:pt x="691" y="367"/>
                    </a:cubicBezTo>
                    <a:cubicBezTo>
                      <a:pt x="309" y="1616"/>
                      <a:pt x="309" y="1616"/>
                      <a:pt x="309" y="1616"/>
                    </a:cubicBezTo>
                    <a:cubicBezTo>
                      <a:pt x="307" y="1622"/>
                      <a:pt x="306" y="1627"/>
                      <a:pt x="306" y="1634"/>
                    </a:cubicBezTo>
                    <a:cubicBezTo>
                      <a:pt x="306" y="1646"/>
                      <a:pt x="310" y="1659"/>
                      <a:pt x="318" y="1670"/>
                    </a:cubicBezTo>
                    <a:cubicBezTo>
                      <a:pt x="329" y="1685"/>
                      <a:pt x="347" y="1694"/>
                      <a:pt x="366" y="1694"/>
                    </a:cubicBezTo>
                    <a:cubicBezTo>
                      <a:pt x="763" y="1694"/>
                      <a:pt x="763" y="1694"/>
                      <a:pt x="763" y="1694"/>
                    </a:cubicBezTo>
                    <a:cubicBezTo>
                      <a:pt x="789" y="1694"/>
                      <a:pt x="813" y="1677"/>
                      <a:pt x="820" y="1651"/>
                    </a:cubicBezTo>
                    <a:cubicBezTo>
                      <a:pt x="1213" y="367"/>
                      <a:pt x="1213" y="367"/>
                      <a:pt x="1213" y="367"/>
                    </a:cubicBezTo>
                    <a:cubicBezTo>
                      <a:pt x="1877" y="367"/>
                      <a:pt x="1877" y="367"/>
                      <a:pt x="1877" y="367"/>
                    </a:cubicBezTo>
                    <a:cubicBezTo>
                      <a:pt x="1904" y="367"/>
                      <a:pt x="1927" y="350"/>
                      <a:pt x="1935" y="324"/>
                    </a:cubicBezTo>
                    <a:cubicBezTo>
                      <a:pt x="2010" y="77"/>
                      <a:pt x="2010" y="77"/>
                      <a:pt x="2010" y="77"/>
                    </a:cubicBezTo>
                    <a:cubicBezTo>
                      <a:pt x="2012" y="72"/>
                      <a:pt x="2013" y="66"/>
                      <a:pt x="2013" y="60"/>
                    </a:cubicBezTo>
                    <a:cubicBezTo>
                      <a:pt x="2013" y="47"/>
                      <a:pt x="2009" y="35"/>
                      <a:pt x="2001" y="24"/>
                    </a:cubicBezTo>
                    <a:cubicBezTo>
                      <a:pt x="1990" y="9"/>
                      <a:pt x="1972" y="0"/>
                      <a:pt x="1953" y="0"/>
                    </a:cubicBezTo>
                    <a:lnTo>
                      <a:pt x="13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8" name="Freeform 19"/>
              <p:cNvSpPr/>
              <p:nvPr/>
            </p:nvSpPr>
            <p:spPr bwMode="auto">
              <a:xfrm>
                <a:off x="3688" y="2980"/>
                <a:ext cx="48" cy="32"/>
              </a:xfrm>
              <a:custGeom>
                <a:avLst/>
                <a:gdLst/>
                <a:ahLst/>
                <a:cxnLst/>
                <a:rect l="0" t="0" r="r" b="b"/>
                <a:pathLst>
                  <a:path w="2321" h="1540">
                    <a:moveTo>
                      <a:pt x="1902" y="0"/>
                    </a:moveTo>
                    <a:cubicBezTo>
                      <a:pt x="1876" y="0"/>
                      <a:pt x="1853" y="17"/>
                      <a:pt x="1845" y="42"/>
                    </a:cubicBezTo>
                    <a:cubicBezTo>
                      <a:pt x="1690" y="553"/>
                      <a:pt x="1690" y="553"/>
                      <a:pt x="1690" y="553"/>
                    </a:cubicBezTo>
                    <a:cubicBezTo>
                      <a:pt x="762" y="553"/>
                      <a:pt x="762" y="553"/>
                      <a:pt x="762" y="553"/>
                    </a:cubicBezTo>
                    <a:cubicBezTo>
                      <a:pt x="907" y="77"/>
                      <a:pt x="907" y="77"/>
                      <a:pt x="907" y="77"/>
                    </a:cubicBezTo>
                    <a:cubicBezTo>
                      <a:pt x="909" y="71"/>
                      <a:pt x="910" y="65"/>
                      <a:pt x="910" y="59"/>
                    </a:cubicBezTo>
                    <a:cubicBezTo>
                      <a:pt x="910" y="47"/>
                      <a:pt x="906" y="34"/>
                      <a:pt x="898" y="24"/>
                    </a:cubicBezTo>
                    <a:cubicBezTo>
                      <a:pt x="887" y="8"/>
                      <a:pt x="869" y="0"/>
                      <a:pt x="850" y="0"/>
                    </a:cubicBezTo>
                    <a:cubicBezTo>
                      <a:pt x="494" y="0"/>
                      <a:pt x="494" y="0"/>
                      <a:pt x="494" y="0"/>
                    </a:cubicBezTo>
                    <a:cubicBezTo>
                      <a:pt x="468" y="0"/>
                      <a:pt x="445" y="17"/>
                      <a:pt x="437" y="42"/>
                    </a:cubicBezTo>
                    <a:cubicBezTo>
                      <a:pt x="5" y="1462"/>
                      <a:pt x="5" y="1462"/>
                      <a:pt x="5" y="1462"/>
                    </a:cubicBezTo>
                    <a:cubicBezTo>
                      <a:pt x="0" y="1481"/>
                      <a:pt x="3" y="1500"/>
                      <a:pt x="15" y="1516"/>
                    </a:cubicBezTo>
                    <a:cubicBezTo>
                      <a:pt x="26" y="1531"/>
                      <a:pt x="43" y="1540"/>
                      <a:pt x="62" y="1540"/>
                    </a:cubicBezTo>
                    <a:cubicBezTo>
                      <a:pt x="418" y="1540"/>
                      <a:pt x="418" y="1540"/>
                      <a:pt x="418" y="1540"/>
                    </a:cubicBezTo>
                    <a:cubicBezTo>
                      <a:pt x="444" y="1540"/>
                      <a:pt x="468" y="1522"/>
                      <a:pt x="475" y="1497"/>
                    </a:cubicBezTo>
                    <a:cubicBezTo>
                      <a:pt x="658" y="895"/>
                      <a:pt x="658" y="895"/>
                      <a:pt x="658" y="895"/>
                    </a:cubicBezTo>
                    <a:cubicBezTo>
                      <a:pt x="1586" y="895"/>
                      <a:pt x="1586" y="895"/>
                      <a:pt x="1586" y="895"/>
                    </a:cubicBezTo>
                    <a:cubicBezTo>
                      <a:pt x="1414" y="1462"/>
                      <a:pt x="1414" y="1462"/>
                      <a:pt x="1414" y="1462"/>
                    </a:cubicBezTo>
                    <a:cubicBezTo>
                      <a:pt x="1412" y="1468"/>
                      <a:pt x="1411" y="1474"/>
                      <a:pt x="1411" y="1480"/>
                    </a:cubicBezTo>
                    <a:cubicBezTo>
                      <a:pt x="1411" y="1492"/>
                      <a:pt x="1415" y="1505"/>
                      <a:pt x="1422" y="1516"/>
                    </a:cubicBezTo>
                    <a:cubicBezTo>
                      <a:pt x="1434" y="1531"/>
                      <a:pt x="1452" y="1540"/>
                      <a:pt x="1470" y="1540"/>
                    </a:cubicBezTo>
                    <a:cubicBezTo>
                      <a:pt x="1826" y="1540"/>
                      <a:pt x="1826" y="1540"/>
                      <a:pt x="1826" y="1540"/>
                    </a:cubicBezTo>
                    <a:cubicBezTo>
                      <a:pt x="1853" y="1540"/>
                      <a:pt x="1875" y="1522"/>
                      <a:pt x="1883" y="1497"/>
                    </a:cubicBezTo>
                    <a:cubicBezTo>
                      <a:pt x="2315" y="77"/>
                      <a:pt x="2315" y="77"/>
                      <a:pt x="2315" y="77"/>
                    </a:cubicBezTo>
                    <a:cubicBezTo>
                      <a:pt x="2321" y="59"/>
                      <a:pt x="2317" y="39"/>
                      <a:pt x="2306" y="24"/>
                    </a:cubicBezTo>
                    <a:cubicBezTo>
                      <a:pt x="2295" y="9"/>
                      <a:pt x="2277" y="0"/>
                      <a:pt x="2258" y="0"/>
                    </a:cubicBezTo>
                    <a:lnTo>
                      <a:pt x="190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9" name="Freeform 20"/>
              <p:cNvSpPr/>
              <p:nvPr/>
            </p:nvSpPr>
            <p:spPr bwMode="auto">
              <a:xfrm>
                <a:off x="3041" y="2980"/>
                <a:ext cx="41" cy="32"/>
              </a:xfrm>
              <a:custGeom>
                <a:avLst/>
                <a:gdLst/>
                <a:ahLst/>
                <a:cxnLst/>
                <a:rect l="0" t="0" r="r" b="b"/>
                <a:pathLst>
                  <a:path w="1964" h="1540">
                    <a:moveTo>
                      <a:pt x="495" y="0"/>
                    </a:moveTo>
                    <a:cubicBezTo>
                      <a:pt x="468" y="0"/>
                      <a:pt x="445" y="17"/>
                      <a:pt x="438" y="42"/>
                    </a:cubicBezTo>
                    <a:cubicBezTo>
                      <a:pt x="6" y="1462"/>
                      <a:pt x="6" y="1462"/>
                      <a:pt x="6" y="1462"/>
                    </a:cubicBezTo>
                    <a:cubicBezTo>
                      <a:pt x="0" y="1481"/>
                      <a:pt x="4" y="1500"/>
                      <a:pt x="15" y="1516"/>
                    </a:cubicBezTo>
                    <a:cubicBezTo>
                      <a:pt x="26" y="1531"/>
                      <a:pt x="44" y="1540"/>
                      <a:pt x="62" y="1540"/>
                    </a:cubicBezTo>
                    <a:cubicBezTo>
                      <a:pt x="419" y="1540"/>
                      <a:pt x="419" y="1540"/>
                      <a:pt x="419" y="1540"/>
                    </a:cubicBezTo>
                    <a:cubicBezTo>
                      <a:pt x="445" y="1540"/>
                      <a:pt x="468" y="1523"/>
                      <a:pt x="475" y="1497"/>
                    </a:cubicBezTo>
                    <a:cubicBezTo>
                      <a:pt x="650" y="923"/>
                      <a:pt x="650" y="923"/>
                      <a:pt x="650" y="923"/>
                    </a:cubicBezTo>
                    <a:cubicBezTo>
                      <a:pt x="1603" y="923"/>
                      <a:pt x="1603" y="923"/>
                      <a:pt x="1603" y="923"/>
                    </a:cubicBezTo>
                    <a:cubicBezTo>
                      <a:pt x="1629" y="923"/>
                      <a:pt x="1653" y="906"/>
                      <a:pt x="1660" y="881"/>
                    </a:cubicBezTo>
                    <a:cubicBezTo>
                      <a:pt x="1728" y="658"/>
                      <a:pt x="1728" y="658"/>
                      <a:pt x="1728" y="658"/>
                    </a:cubicBezTo>
                    <a:cubicBezTo>
                      <a:pt x="1730" y="652"/>
                      <a:pt x="1731" y="646"/>
                      <a:pt x="1731" y="641"/>
                    </a:cubicBezTo>
                    <a:cubicBezTo>
                      <a:pt x="1731" y="628"/>
                      <a:pt x="1727" y="616"/>
                      <a:pt x="1719" y="605"/>
                    </a:cubicBezTo>
                    <a:cubicBezTo>
                      <a:pt x="1708" y="590"/>
                      <a:pt x="1690" y="581"/>
                      <a:pt x="1671" y="581"/>
                    </a:cubicBezTo>
                    <a:cubicBezTo>
                      <a:pt x="754" y="581"/>
                      <a:pt x="754" y="581"/>
                      <a:pt x="754" y="581"/>
                    </a:cubicBezTo>
                    <a:cubicBezTo>
                      <a:pt x="827" y="342"/>
                      <a:pt x="827" y="342"/>
                      <a:pt x="827" y="342"/>
                    </a:cubicBezTo>
                    <a:cubicBezTo>
                      <a:pt x="1837" y="342"/>
                      <a:pt x="1837" y="342"/>
                      <a:pt x="1837" y="342"/>
                    </a:cubicBezTo>
                    <a:cubicBezTo>
                      <a:pt x="1863" y="342"/>
                      <a:pt x="1886" y="325"/>
                      <a:pt x="1894" y="300"/>
                    </a:cubicBezTo>
                    <a:cubicBezTo>
                      <a:pt x="1962" y="77"/>
                      <a:pt x="1962" y="77"/>
                      <a:pt x="1962" y="77"/>
                    </a:cubicBezTo>
                    <a:cubicBezTo>
                      <a:pt x="1963" y="71"/>
                      <a:pt x="1964" y="66"/>
                      <a:pt x="1964" y="60"/>
                    </a:cubicBezTo>
                    <a:cubicBezTo>
                      <a:pt x="1964" y="47"/>
                      <a:pt x="1960" y="34"/>
                      <a:pt x="1952" y="24"/>
                    </a:cubicBezTo>
                    <a:cubicBezTo>
                      <a:pt x="1941" y="9"/>
                      <a:pt x="1923" y="0"/>
                      <a:pt x="1905" y="0"/>
                    </a:cubicBezTo>
                    <a:lnTo>
                      <a:pt x="49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0" name="Freeform 21"/>
              <p:cNvSpPr>
                <a:spLocks noEditPoints="1"/>
              </p:cNvSpPr>
              <p:nvPr/>
            </p:nvSpPr>
            <p:spPr bwMode="auto">
              <a:xfrm>
                <a:off x="2996" y="2979"/>
                <a:ext cx="46" cy="33"/>
              </a:xfrm>
              <a:custGeom>
                <a:avLst/>
                <a:gdLst/>
                <a:ahLst/>
                <a:cxnLst/>
                <a:rect l="0" t="0" r="r" b="b"/>
                <a:pathLst>
                  <a:path w="2241" h="1611">
                    <a:moveTo>
                      <a:pt x="66" y="788"/>
                    </a:moveTo>
                    <a:cubicBezTo>
                      <a:pt x="0" y="1006"/>
                      <a:pt x="20" y="1196"/>
                      <a:pt x="126" y="1338"/>
                    </a:cubicBezTo>
                    <a:cubicBezTo>
                      <a:pt x="260" y="1519"/>
                      <a:pt x="518" y="1611"/>
                      <a:pt x="892" y="1611"/>
                    </a:cubicBezTo>
                    <a:cubicBezTo>
                      <a:pt x="1544" y="1611"/>
                      <a:pt x="2024" y="1316"/>
                      <a:pt x="2175" y="823"/>
                    </a:cubicBezTo>
                    <a:cubicBezTo>
                      <a:pt x="2241" y="605"/>
                      <a:pt x="2221" y="415"/>
                      <a:pt x="2115" y="273"/>
                    </a:cubicBezTo>
                    <a:cubicBezTo>
                      <a:pt x="1982" y="92"/>
                      <a:pt x="1723" y="0"/>
                      <a:pt x="1348" y="0"/>
                    </a:cubicBezTo>
                    <a:cubicBezTo>
                      <a:pt x="697" y="0"/>
                      <a:pt x="217" y="295"/>
                      <a:pt x="66" y="788"/>
                    </a:cubicBezTo>
                    <a:close/>
                    <a:moveTo>
                      <a:pt x="576" y="1133"/>
                    </a:moveTo>
                    <a:cubicBezTo>
                      <a:pt x="506" y="1037"/>
                      <a:pt x="523" y="911"/>
                      <a:pt x="550" y="823"/>
                    </a:cubicBezTo>
                    <a:cubicBezTo>
                      <a:pt x="642" y="525"/>
                      <a:pt x="922" y="340"/>
                      <a:pt x="1281" y="340"/>
                    </a:cubicBezTo>
                    <a:cubicBezTo>
                      <a:pt x="1465" y="340"/>
                      <a:pt x="1598" y="388"/>
                      <a:pt x="1665" y="478"/>
                    </a:cubicBezTo>
                    <a:cubicBezTo>
                      <a:pt x="1702" y="528"/>
                      <a:pt x="1714" y="586"/>
                      <a:pt x="1714" y="643"/>
                    </a:cubicBezTo>
                    <a:cubicBezTo>
                      <a:pt x="1714" y="695"/>
                      <a:pt x="1703" y="746"/>
                      <a:pt x="1691" y="788"/>
                    </a:cubicBezTo>
                    <a:cubicBezTo>
                      <a:pt x="1600" y="1086"/>
                      <a:pt x="1320" y="1270"/>
                      <a:pt x="960" y="1270"/>
                    </a:cubicBezTo>
                    <a:cubicBezTo>
                      <a:pt x="776" y="1270"/>
                      <a:pt x="643" y="1223"/>
                      <a:pt x="576" y="113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1" name="Freeform 22"/>
              <p:cNvSpPr/>
              <p:nvPr/>
            </p:nvSpPr>
            <p:spPr bwMode="auto">
              <a:xfrm>
                <a:off x="3187" y="2980"/>
                <a:ext cx="41" cy="32"/>
              </a:xfrm>
              <a:custGeom>
                <a:avLst/>
                <a:gdLst/>
                <a:ahLst/>
                <a:cxnLst/>
                <a:rect l="0" t="0" r="r" b="b"/>
                <a:pathLst>
                  <a:path w="2026" h="1539">
                    <a:moveTo>
                      <a:pt x="494" y="0"/>
                    </a:moveTo>
                    <a:cubicBezTo>
                      <a:pt x="468" y="0"/>
                      <a:pt x="445" y="17"/>
                      <a:pt x="437" y="42"/>
                    </a:cubicBezTo>
                    <a:cubicBezTo>
                      <a:pt x="6" y="1462"/>
                      <a:pt x="6" y="1462"/>
                      <a:pt x="6" y="1462"/>
                    </a:cubicBezTo>
                    <a:cubicBezTo>
                      <a:pt x="0" y="1480"/>
                      <a:pt x="4" y="1500"/>
                      <a:pt x="14" y="1515"/>
                    </a:cubicBezTo>
                    <a:cubicBezTo>
                      <a:pt x="26" y="1530"/>
                      <a:pt x="44" y="1539"/>
                      <a:pt x="62" y="1539"/>
                    </a:cubicBezTo>
                    <a:cubicBezTo>
                      <a:pt x="1553" y="1539"/>
                      <a:pt x="1553" y="1539"/>
                      <a:pt x="1553" y="1539"/>
                    </a:cubicBezTo>
                    <a:cubicBezTo>
                      <a:pt x="1580" y="1539"/>
                      <a:pt x="1603" y="1522"/>
                      <a:pt x="1610" y="1497"/>
                    </a:cubicBezTo>
                    <a:cubicBezTo>
                      <a:pt x="1678" y="1274"/>
                      <a:pt x="1678" y="1274"/>
                      <a:pt x="1678" y="1274"/>
                    </a:cubicBezTo>
                    <a:cubicBezTo>
                      <a:pt x="1683" y="1256"/>
                      <a:pt x="1680" y="1237"/>
                      <a:pt x="1669" y="1222"/>
                    </a:cubicBezTo>
                    <a:cubicBezTo>
                      <a:pt x="1658" y="1206"/>
                      <a:pt x="1640" y="1197"/>
                      <a:pt x="1621" y="1197"/>
                    </a:cubicBezTo>
                    <a:cubicBezTo>
                      <a:pt x="567" y="1197"/>
                      <a:pt x="567" y="1197"/>
                      <a:pt x="567" y="1197"/>
                    </a:cubicBezTo>
                    <a:cubicBezTo>
                      <a:pt x="650" y="923"/>
                      <a:pt x="650" y="923"/>
                      <a:pt x="650" y="923"/>
                    </a:cubicBezTo>
                    <a:cubicBezTo>
                      <a:pt x="1677" y="923"/>
                      <a:pt x="1677" y="923"/>
                      <a:pt x="1677" y="923"/>
                    </a:cubicBezTo>
                    <a:cubicBezTo>
                      <a:pt x="1703" y="923"/>
                      <a:pt x="1726" y="905"/>
                      <a:pt x="1734" y="880"/>
                    </a:cubicBezTo>
                    <a:cubicBezTo>
                      <a:pt x="1801" y="658"/>
                      <a:pt x="1801" y="658"/>
                      <a:pt x="1801" y="658"/>
                    </a:cubicBezTo>
                    <a:cubicBezTo>
                      <a:pt x="1803" y="652"/>
                      <a:pt x="1804" y="646"/>
                      <a:pt x="1804" y="640"/>
                    </a:cubicBezTo>
                    <a:cubicBezTo>
                      <a:pt x="1804" y="628"/>
                      <a:pt x="1800" y="615"/>
                      <a:pt x="1793" y="605"/>
                    </a:cubicBezTo>
                    <a:cubicBezTo>
                      <a:pt x="1781" y="589"/>
                      <a:pt x="1763" y="580"/>
                      <a:pt x="1745" y="580"/>
                    </a:cubicBezTo>
                    <a:cubicBezTo>
                      <a:pt x="754" y="580"/>
                      <a:pt x="754" y="580"/>
                      <a:pt x="754" y="580"/>
                    </a:cubicBezTo>
                    <a:cubicBezTo>
                      <a:pt x="827" y="342"/>
                      <a:pt x="827" y="342"/>
                      <a:pt x="827" y="342"/>
                    </a:cubicBezTo>
                    <a:cubicBezTo>
                      <a:pt x="1899" y="342"/>
                      <a:pt x="1899" y="342"/>
                      <a:pt x="1899" y="342"/>
                    </a:cubicBezTo>
                    <a:cubicBezTo>
                      <a:pt x="1925" y="342"/>
                      <a:pt x="1948" y="325"/>
                      <a:pt x="1956" y="300"/>
                    </a:cubicBezTo>
                    <a:cubicBezTo>
                      <a:pt x="2023" y="77"/>
                      <a:pt x="2023" y="77"/>
                      <a:pt x="2023" y="77"/>
                    </a:cubicBezTo>
                    <a:cubicBezTo>
                      <a:pt x="2025" y="71"/>
                      <a:pt x="2026" y="65"/>
                      <a:pt x="2026" y="60"/>
                    </a:cubicBezTo>
                    <a:cubicBezTo>
                      <a:pt x="2026" y="47"/>
                      <a:pt x="2022" y="34"/>
                      <a:pt x="2014" y="24"/>
                    </a:cubicBezTo>
                    <a:cubicBezTo>
                      <a:pt x="2003" y="9"/>
                      <a:pt x="1985" y="0"/>
                      <a:pt x="1966" y="0"/>
                    </a:cubicBezTo>
                    <a:lnTo>
                      <a:pt x="49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2" name="Freeform 23"/>
              <p:cNvSpPr/>
              <p:nvPr/>
            </p:nvSpPr>
            <p:spPr bwMode="auto">
              <a:xfrm>
                <a:off x="3142" y="2980"/>
                <a:ext cx="48" cy="32"/>
              </a:xfrm>
              <a:custGeom>
                <a:avLst/>
                <a:gdLst/>
                <a:ahLst/>
                <a:cxnLst/>
                <a:rect l="0" t="0" r="r" b="b"/>
                <a:pathLst>
                  <a:path w="2320" h="1540">
                    <a:moveTo>
                      <a:pt x="1902" y="0"/>
                    </a:moveTo>
                    <a:cubicBezTo>
                      <a:pt x="1876" y="0"/>
                      <a:pt x="1853" y="17"/>
                      <a:pt x="1845" y="42"/>
                    </a:cubicBezTo>
                    <a:cubicBezTo>
                      <a:pt x="1690" y="553"/>
                      <a:pt x="1690" y="553"/>
                      <a:pt x="1690" y="553"/>
                    </a:cubicBezTo>
                    <a:cubicBezTo>
                      <a:pt x="762" y="553"/>
                      <a:pt x="762" y="553"/>
                      <a:pt x="762" y="553"/>
                    </a:cubicBezTo>
                    <a:cubicBezTo>
                      <a:pt x="907" y="77"/>
                      <a:pt x="907" y="77"/>
                      <a:pt x="907" y="77"/>
                    </a:cubicBezTo>
                    <a:cubicBezTo>
                      <a:pt x="909" y="71"/>
                      <a:pt x="910" y="65"/>
                      <a:pt x="910" y="59"/>
                    </a:cubicBezTo>
                    <a:cubicBezTo>
                      <a:pt x="910" y="47"/>
                      <a:pt x="905" y="34"/>
                      <a:pt x="898" y="24"/>
                    </a:cubicBezTo>
                    <a:cubicBezTo>
                      <a:pt x="887" y="8"/>
                      <a:pt x="869" y="0"/>
                      <a:pt x="850" y="0"/>
                    </a:cubicBezTo>
                    <a:cubicBezTo>
                      <a:pt x="494" y="0"/>
                      <a:pt x="494" y="0"/>
                      <a:pt x="494" y="0"/>
                    </a:cubicBezTo>
                    <a:cubicBezTo>
                      <a:pt x="468" y="0"/>
                      <a:pt x="445" y="17"/>
                      <a:pt x="437" y="42"/>
                    </a:cubicBezTo>
                    <a:cubicBezTo>
                      <a:pt x="5" y="1462"/>
                      <a:pt x="5" y="1462"/>
                      <a:pt x="5" y="1462"/>
                    </a:cubicBezTo>
                    <a:cubicBezTo>
                      <a:pt x="0" y="1481"/>
                      <a:pt x="3" y="1500"/>
                      <a:pt x="14" y="1516"/>
                    </a:cubicBezTo>
                    <a:cubicBezTo>
                      <a:pt x="26" y="1531"/>
                      <a:pt x="43" y="1540"/>
                      <a:pt x="62" y="1540"/>
                    </a:cubicBezTo>
                    <a:cubicBezTo>
                      <a:pt x="418" y="1540"/>
                      <a:pt x="418" y="1540"/>
                      <a:pt x="418" y="1540"/>
                    </a:cubicBezTo>
                    <a:cubicBezTo>
                      <a:pt x="444" y="1540"/>
                      <a:pt x="467" y="1522"/>
                      <a:pt x="475" y="1497"/>
                    </a:cubicBezTo>
                    <a:cubicBezTo>
                      <a:pt x="658" y="895"/>
                      <a:pt x="658" y="895"/>
                      <a:pt x="658" y="895"/>
                    </a:cubicBezTo>
                    <a:cubicBezTo>
                      <a:pt x="1586" y="895"/>
                      <a:pt x="1586" y="895"/>
                      <a:pt x="1586" y="895"/>
                    </a:cubicBezTo>
                    <a:cubicBezTo>
                      <a:pt x="1413" y="1462"/>
                      <a:pt x="1413" y="1462"/>
                      <a:pt x="1413" y="1462"/>
                    </a:cubicBezTo>
                    <a:cubicBezTo>
                      <a:pt x="1412" y="1468"/>
                      <a:pt x="1411" y="1474"/>
                      <a:pt x="1411" y="1480"/>
                    </a:cubicBezTo>
                    <a:cubicBezTo>
                      <a:pt x="1411" y="1492"/>
                      <a:pt x="1415" y="1505"/>
                      <a:pt x="1422" y="1516"/>
                    </a:cubicBezTo>
                    <a:cubicBezTo>
                      <a:pt x="1433" y="1531"/>
                      <a:pt x="1451" y="1540"/>
                      <a:pt x="1470" y="1540"/>
                    </a:cubicBezTo>
                    <a:cubicBezTo>
                      <a:pt x="1826" y="1540"/>
                      <a:pt x="1826" y="1540"/>
                      <a:pt x="1826" y="1540"/>
                    </a:cubicBezTo>
                    <a:cubicBezTo>
                      <a:pt x="1852" y="1540"/>
                      <a:pt x="1875" y="1522"/>
                      <a:pt x="1883" y="1497"/>
                    </a:cubicBezTo>
                    <a:cubicBezTo>
                      <a:pt x="2315" y="77"/>
                      <a:pt x="2315" y="77"/>
                      <a:pt x="2315" y="77"/>
                    </a:cubicBezTo>
                    <a:cubicBezTo>
                      <a:pt x="2320" y="59"/>
                      <a:pt x="2317" y="39"/>
                      <a:pt x="2306" y="24"/>
                    </a:cubicBezTo>
                    <a:cubicBezTo>
                      <a:pt x="2294" y="9"/>
                      <a:pt x="2277" y="0"/>
                      <a:pt x="2258" y="0"/>
                    </a:cubicBezTo>
                    <a:lnTo>
                      <a:pt x="190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3" name="Freeform 24"/>
              <p:cNvSpPr/>
              <p:nvPr/>
            </p:nvSpPr>
            <p:spPr bwMode="auto">
              <a:xfrm>
                <a:off x="3107" y="2980"/>
                <a:ext cx="38" cy="32"/>
              </a:xfrm>
              <a:custGeom>
                <a:avLst/>
                <a:gdLst/>
                <a:ahLst/>
                <a:cxnLst/>
                <a:rect l="0" t="0" r="r" b="b"/>
                <a:pathLst>
                  <a:path w="1818" h="1539">
                    <a:moveTo>
                      <a:pt x="130" y="0"/>
                    </a:moveTo>
                    <a:cubicBezTo>
                      <a:pt x="104" y="0"/>
                      <a:pt x="81" y="17"/>
                      <a:pt x="73" y="42"/>
                    </a:cubicBezTo>
                    <a:cubicBezTo>
                      <a:pt x="6" y="265"/>
                      <a:pt x="6" y="265"/>
                      <a:pt x="6" y="265"/>
                    </a:cubicBezTo>
                    <a:cubicBezTo>
                      <a:pt x="0" y="283"/>
                      <a:pt x="4" y="302"/>
                      <a:pt x="15" y="318"/>
                    </a:cubicBezTo>
                    <a:cubicBezTo>
                      <a:pt x="26" y="333"/>
                      <a:pt x="44" y="342"/>
                      <a:pt x="63" y="342"/>
                    </a:cubicBezTo>
                    <a:cubicBezTo>
                      <a:pt x="619" y="342"/>
                      <a:pt x="619" y="342"/>
                      <a:pt x="619" y="342"/>
                    </a:cubicBezTo>
                    <a:cubicBezTo>
                      <a:pt x="278" y="1462"/>
                      <a:pt x="278" y="1462"/>
                      <a:pt x="278" y="1462"/>
                    </a:cubicBezTo>
                    <a:cubicBezTo>
                      <a:pt x="276" y="1468"/>
                      <a:pt x="275" y="1474"/>
                      <a:pt x="275" y="1480"/>
                    </a:cubicBezTo>
                    <a:cubicBezTo>
                      <a:pt x="275" y="1492"/>
                      <a:pt x="279" y="1505"/>
                      <a:pt x="287" y="1515"/>
                    </a:cubicBezTo>
                    <a:cubicBezTo>
                      <a:pt x="298" y="1530"/>
                      <a:pt x="316" y="1539"/>
                      <a:pt x="334" y="1539"/>
                    </a:cubicBezTo>
                    <a:cubicBezTo>
                      <a:pt x="691" y="1539"/>
                      <a:pt x="691" y="1539"/>
                      <a:pt x="691" y="1539"/>
                    </a:cubicBezTo>
                    <a:cubicBezTo>
                      <a:pt x="717" y="1539"/>
                      <a:pt x="740" y="1522"/>
                      <a:pt x="747" y="1497"/>
                    </a:cubicBezTo>
                    <a:cubicBezTo>
                      <a:pt x="1099" y="342"/>
                      <a:pt x="1099" y="342"/>
                      <a:pt x="1099" y="342"/>
                    </a:cubicBezTo>
                    <a:cubicBezTo>
                      <a:pt x="1691" y="342"/>
                      <a:pt x="1691" y="342"/>
                      <a:pt x="1691" y="342"/>
                    </a:cubicBezTo>
                    <a:cubicBezTo>
                      <a:pt x="1717" y="342"/>
                      <a:pt x="1740" y="325"/>
                      <a:pt x="1748" y="300"/>
                    </a:cubicBezTo>
                    <a:cubicBezTo>
                      <a:pt x="1816" y="77"/>
                      <a:pt x="1816" y="77"/>
                      <a:pt x="1816" y="77"/>
                    </a:cubicBezTo>
                    <a:cubicBezTo>
                      <a:pt x="1818" y="71"/>
                      <a:pt x="1818" y="65"/>
                      <a:pt x="1818" y="60"/>
                    </a:cubicBezTo>
                    <a:cubicBezTo>
                      <a:pt x="1818" y="47"/>
                      <a:pt x="1814" y="34"/>
                      <a:pt x="1807" y="24"/>
                    </a:cubicBezTo>
                    <a:cubicBezTo>
                      <a:pt x="1795" y="9"/>
                      <a:pt x="1778" y="0"/>
                      <a:pt x="1759" y="0"/>
                    </a:cubicBezTo>
                    <a:lnTo>
                      <a:pt x="1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4" name="Freeform 25"/>
              <p:cNvSpPr/>
              <p:nvPr/>
            </p:nvSpPr>
            <p:spPr bwMode="auto">
              <a:xfrm>
                <a:off x="2682" y="2980"/>
                <a:ext cx="41" cy="32"/>
              </a:xfrm>
              <a:custGeom>
                <a:avLst/>
                <a:gdLst/>
                <a:ahLst/>
                <a:cxnLst/>
                <a:rect l="0" t="0" r="r" b="b"/>
                <a:pathLst>
                  <a:path w="2026" h="1540">
                    <a:moveTo>
                      <a:pt x="494" y="0"/>
                    </a:moveTo>
                    <a:cubicBezTo>
                      <a:pt x="468" y="0"/>
                      <a:pt x="445" y="17"/>
                      <a:pt x="437" y="42"/>
                    </a:cubicBezTo>
                    <a:cubicBezTo>
                      <a:pt x="5" y="1463"/>
                      <a:pt x="5" y="1463"/>
                      <a:pt x="5" y="1463"/>
                    </a:cubicBezTo>
                    <a:cubicBezTo>
                      <a:pt x="0" y="1481"/>
                      <a:pt x="4" y="1500"/>
                      <a:pt x="14" y="1515"/>
                    </a:cubicBezTo>
                    <a:cubicBezTo>
                      <a:pt x="26" y="1531"/>
                      <a:pt x="43" y="1540"/>
                      <a:pt x="62" y="1540"/>
                    </a:cubicBezTo>
                    <a:cubicBezTo>
                      <a:pt x="1553" y="1540"/>
                      <a:pt x="1553" y="1540"/>
                      <a:pt x="1553" y="1540"/>
                    </a:cubicBezTo>
                    <a:cubicBezTo>
                      <a:pt x="1580" y="1540"/>
                      <a:pt x="1602" y="1523"/>
                      <a:pt x="1610" y="1498"/>
                    </a:cubicBezTo>
                    <a:cubicBezTo>
                      <a:pt x="1678" y="1274"/>
                      <a:pt x="1678" y="1274"/>
                      <a:pt x="1678" y="1274"/>
                    </a:cubicBezTo>
                    <a:cubicBezTo>
                      <a:pt x="1683" y="1257"/>
                      <a:pt x="1680" y="1237"/>
                      <a:pt x="1669" y="1222"/>
                    </a:cubicBezTo>
                    <a:cubicBezTo>
                      <a:pt x="1658" y="1206"/>
                      <a:pt x="1640" y="1198"/>
                      <a:pt x="1621" y="1198"/>
                    </a:cubicBezTo>
                    <a:cubicBezTo>
                      <a:pt x="567" y="1198"/>
                      <a:pt x="567" y="1198"/>
                      <a:pt x="567" y="1198"/>
                    </a:cubicBezTo>
                    <a:cubicBezTo>
                      <a:pt x="650" y="923"/>
                      <a:pt x="650" y="923"/>
                      <a:pt x="650" y="923"/>
                    </a:cubicBezTo>
                    <a:cubicBezTo>
                      <a:pt x="1677" y="923"/>
                      <a:pt x="1677" y="923"/>
                      <a:pt x="1677" y="923"/>
                    </a:cubicBezTo>
                    <a:cubicBezTo>
                      <a:pt x="1703" y="923"/>
                      <a:pt x="1726" y="906"/>
                      <a:pt x="1733" y="881"/>
                    </a:cubicBezTo>
                    <a:cubicBezTo>
                      <a:pt x="1801" y="658"/>
                      <a:pt x="1801" y="658"/>
                      <a:pt x="1801" y="658"/>
                    </a:cubicBezTo>
                    <a:cubicBezTo>
                      <a:pt x="1803" y="652"/>
                      <a:pt x="1804" y="646"/>
                      <a:pt x="1804" y="641"/>
                    </a:cubicBezTo>
                    <a:cubicBezTo>
                      <a:pt x="1804" y="628"/>
                      <a:pt x="1800" y="616"/>
                      <a:pt x="1792" y="605"/>
                    </a:cubicBezTo>
                    <a:cubicBezTo>
                      <a:pt x="1781" y="590"/>
                      <a:pt x="1763" y="581"/>
                      <a:pt x="1745" y="581"/>
                    </a:cubicBezTo>
                    <a:cubicBezTo>
                      <a:pt x="754" y="581"/>
                      <a:pt x="754" y="581"/>
                      <a:pt x="754" y="581"/>
                    </a:cubicBezTo>
                    <a:cubicBezTo>
                      <a:pt x="827" y="342"/>
                      <a:pt x="827" y="342"/>
                      <a:pt x="827" y="342"/>
                    </a:cubicBezTo>
                    <a:cubicBezTo>
                      <a:pt x="1899" y="342"/>
                      <a:pt x="1899" y="342"/>
                      <a:pt x="1899" y="342"/>
                    </a:cubicBezTo>
                    <a:cubicBezTo>
                      <a:pt x="1925" y="342"/>
                      <a:pt x="1948" y="325"/>
                      <a:pt x="1956" y="300"/>
                    </a:cubicBezTo>
                    <a:cubicBezTo>
                      <a:pt x="2023" y="77"/>
                      <a:pt x="2023" y="77"/>
                      <a:pt x="2023" y="77"/>
                    </a:cubicBezTo>
                    <a:cubicBezTo>
                      <a:pt x="2025" y="71"/>
                      <a:pt x="2026" y="66"/>
                      <a:pt x="2026" y="60"/>
                    </a:cubicBezTo>
                    <a:cubicBezTo>
                      <a:pt x="2026" y="47"/>
                      <a:pt x="2022" y="34"/>
                      <a:pt x="2014" y="24"/>
                    </a:cubicBezTo>
                    <a:cubicBezTo>
                      <a:pt x="2003" y="9"/>
                      <a:pt x="1985" y="0"/>
                      <a:pt x="1966" y="0"/>
                    </a:cubicBezTo>
                    <a:lnTo>
                      <a:pt x="49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5" name="Freeform 26"/>
              <p:cNvSpPr/>
              <p:nvPr/>
            </p:nvSpPr>
            <p:spPr bwMode="auto">
              <a:xfrm>
                <a:off x="2637" y="2980"/>
                <a:ext cx="48" cy="32"/>
              </a:xfrm>
              <a:custGeom>
                <a:avLst/>
                <a:gdLst/>
                <a:ahLst/>
                <a:cxnLst/>
                <a:rect l="0" t="0" r="r" b="b"/>
                <a:pathLst>
                  <a:path w="2320" h="1540">
                    <a:moveTo>
                      <a:pt x="1902" y="0"/>
                    </a:moveTo>
                    <a:cubicBezTo>
                      <a:pt x="1876" y="0"/>
                      <a:pt x="1853" y="17"/>
                      <a:pt x="1845" y="42"/>
                    </a:cubicBezTo>
                    <a:cubicBezTo>
                      <a:pt x="1690" y="553"/>
                      <a:pt x="1690" y="553"/>
                      <a:pt x="1690" y="553"/>
                    </a:cubicBezTo>
                    <a:cubicBezTo>
                      <a:pt x="762" y="553"/>
                      <a:pt x="762" y="553"/>
                      <a:pt x="762" y="553"/>
                    </a:cubicBezTo>
                    <a:cubicBezTo>
                      <a:pt x="907" y="77"/>
                      <a:pt x="907" y="77"/>
                      <a:pt x="907" y="77"/>
                    </a:cubicBezTo>
                    <a:cubicBezTo>
                      <a:pt x="909" y="71"/>
                      <a:pt x="909" y="65"/>
                      <a:pt x="909" y="59"/>
                    </a:cubicBezTo>
                    <a:cubicBezTo>
                      <a:pt x="909" y="47"/>
                      <a:pt x="905" y="34"/>
                      <a:pt x="898" y="24"/>
                    </a:cubicBezTo>
                    <a:cubicBezTo>
                      <a:pt x="887" y="8"/>
                      <a:pt x="869" y="0"/>
                      <a:pt x="850" y="0"/>
                    </a:cubicBezTo>
                    <a:cubicBezTo>
                      <a:pt x="494" y="0"/>
                      <a:pt x="494" y="0"/>
                      <a:pt x="494" y="0"/>
                    </a:cubicBezTo>
                    <a:cubicBezTo>
                      <a:pt x="468" y="0"/>
                      <a:pt x="445" y="17"/>
                      <a:pt x="437" y="42"/>
                    </a:cubicBezTo>
                    <a:cubicBezTo>
                      <a:pt x="5" y="1462"/>
                      <a:pt x="5" y="1462"/>
                      <a:pt x="5" y="1462"/>
                    </a:cubicBezTo>
                    <a:cubicBezTo>
                      <a:pt x="0" y="1481"/>
                      <a:pt x="3" y="1500"/>
                      <a:pt x="14" y="1516"/>
                    </a:cubicBezTo>
                    <a:cubicBezTo>
                      <a:pt x="26" y="1531"/>
                      <a:pt x="43" y="1540"/>
                      <a:pt x="62" y="1540"/>
                    </a:cubicBezTo>
                    <a:cubicBezTo>
                      <a:pt x="418" y="1540"/>
                      <a:pt x="418" y="1540"/>
                      <a:pt x="418" y="1540"/>
                    </a:cubicBezTo>
                    <a:cubicBezTo>
                      <a:pt x="444" y="1540"/>
                      <a:pt x="467" y="1522"/>
                      <a:pt x="475" y="1497"/>
                    </a:cubicBezTo>
                    <a:cubicBezTo>
                      <a:pt x="658" y="895"/>
                      <a:pt x="658" y="895"/>
                      <a:pt x="658" y="895"/>
                    </a:cubicBezTo>
                    <a:cubicBezTo>
                      <a:pt x="1586" y="895"/>
                      <a:pt x="1586" y="895"/>
                      <a:pt x="1586" y="895"/>
                    </a:cubicBezTo>
                    <a:cubicBezTo>
                      <a:pt x="1413" y="1462"/>
                      <a:pt x="1413" y="1462"/>
                      <a:pt x="1413" y="1462"/>
                    </a:cubicBezTo>
                    <a:cubicBezTo>
                      <a:pt x="1411" y="1468"/>
                      <a:pt x="1411" y="1474"/>
                      <a:pt x="1411" y="1480"/>
                    </a:cubicBezTo>
                    <a:cubicBezTo>
                      <a:pt x="1411" y="1492"/>
                      <a:pt x="1415" y="1505"/>
                      <a:pt x="1422" y="1516"/>
                    </a:cubicBezTo>
                    <a:cubicBezTo>
                      <a:pt x="1433" y="1531"/>
                      <a:pt x="1451" y="1540"/>
                      <a:pt x="1470" y="1540"/>
                    </a:cubicBezTo>
                    <a:cubicBezTo>
                      <a:pt x="1826" y="1540"/>
                      <a:pt x="1826" y="1540"/>
                      <a:pt x="1826" y="1540"/>
                    </a:cubicBezTo>
                    <a:cubicBezTo>
                      <a:pt x="1852" y="1540"/>
                      <a:pt x="1875" y="1522"/>
                      <a:pt x="1883" y="1497"/>
                    </a:cubicBezTo>
                    <a:cubicBezTo>
                      <a:pt x="2315" y="77"/>
                      <a:pt x="2315" y="77"/>
                      <a:pt x="2315" y="77"/>
                    </a:cubicBezTo>
                    <a:cubicBezTo>
                      <a:pt x="2320" y="59"/>
                      <a:pt x="2317" y="39"/>
                      <a:pt x="2306" y="24"/>
                    </a:cubicBezTo>
                    <a:cubicBezTo>
                      <a:pt x="2294" y="9"/>
                      <a:pt x="2277" y="0"/>
                      <a:pt x="2258" y="0"/>
                    </a:cubicBezTo>
                    <a:lnTo>
                      <a:pt x="190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6" name="Freeform 27"/>
              <p:cNvSpPr/>
              <p:nvPr/>
            </p:nvSpPr>
            <p:spPr bwMode="auto">
              <a:xfrm>
                <a:off x="2600" y="2977"/>
                <a:ext cx="41" cy="35"/>
              </a:xfrm>
              <a:custGeom>
                <a:avLst/>
                <a:gdLst/>
                <a:ahLst/>
                <a:cxnLst/>
                <a:rect l="0" t="0" r="r" b="b"/>
                <a:pathLst>
                  <a:path w="2013" h="1694">
                    <a:moveTo>
                      <a:pt x="139" y="0"/>
                    </a:moveTo>
                    <a:cubicBezTo>
                      <a:pt x="112" y="0"/>
                      <a:pt x="89" y="17"/>
                      <a:pt x="81" y="43"/>
                    </a:cubicBezTo>
                    <a:cubicBezTo>
                      <a:pt x="6" y="289"/>
                      <a:pt x="6" y="289"/>
                      <a:pt x="6" y="289"/>
                    </a:cubicBezTo>
                    <a:cubicBezTo>
                      <a:pt x="0" y="307"/>
                      <a:pt x="3" y="327"/>
                      <a:pt x="15" y="343"/>
                    </a:cubicBezTo>
                    <a:cubicBezTo>
                      <a:pt x="26" y="358"/>
                      <a:pt x="44" y="367"/>
                      <a:pt x="63" y="367"/>
                    </a:cubicBezTo>
                    <a:cubicBezTo>
                      <a:pt x="691" y="367"/>
                      <a:pt x="691" y="367"/>
                      <a:pt x="691" y="367"/>
                    </a:cubicBezTo>
                    <a:cubicBezTo>
                      <a:pt x="309" y="1616"/>
                      <a:pt x="309" y="1616"/>
                      <a:pt x="309" y="1616"/>
                    </a:cubicBezTo>
                    <a:cubicBezTo>
                      <a:pt x="307" y="1622"/>
                      <a:pt x="306" y="1627"/>
                      <a:pt x="306" y="1634"/>
                    </a:cubicBezTo>
                    <a:cubicBezTo>
                      <a:pt x="306" y="1646"/>
                      <a:pt x="310" y="1659"/>
                      <a:pt x="318" y="1669"/>
                    </a:cubicBezTo>
                    <a:cubicBezTo>
                      <a:pt x="329" y="1685"/>
                      <a:pt x="347" y="1694"/>
                      <a:pt x="366" y="1694"/>
                    </a:cubicBezTo>
                    <a:cubicBezTo>
                      <a:pt x="763" y="1694"/>
                      <a:pt x="763" y="1694"/>
                      <a:pt x="763" y="1694"/>
                    </a:cubicBezTo>
                    <a:cubicBezTo>
                      <a:pt x="789" y="1694"/>
                      <a:pt x="813" y="1677"/>
                      <a:pt x="820" y="1651"/>
                    </a:cubicBezTo>
                    <a:cubicBezTo>
                      <a:pt x="1213" y="367"/>
                      <a:pt x="1213" y="367"/>
                      <a:pt x="1213" y="367"/>
                    </a:cubicBezTo>
                    <a:cubicBezTo>
                      <a:pt x="1877" y="367"/>
                      <a:pt x="1877" y="367"/>
                      <a:pt x="1877" y="367"/>
                    </a:cubicBezTo>
                    <a:cubicBezTo>
                      <a:pt x="1904" y="367"/>
                      <a:pt x="1927" y="350"/>
                      <a:pt x="1935" y="324"/>
                    </a:cubicBezTo>
                    <a:cubicBezTo>
                      <a:pt x="2010" y="77"/>
                      <a:pt x="2010" y="77"/>
                      <a:pt x="2010" y="77"/>
                    </a:cubicBezTo>
                    <a:cubicBezTo>
                      <a:pt x="2012" y="72"/>
                      <a:pt x="2013" y="66"/>
                      <a:pt x="2013" y="60"/>
                    </a:cubicBezTo>
                    <a:cubicBezTo>
                      <a:pt x="2013" y="47"/>
                      <a:pt x="2009" y="34"/>
                      <a:pt x="2001" y="24"/>
                    </a:cubicBezTo>
                    <a:cubicBezTo>
                      <a:pt x="1990" y="9"/>
                      <a:pt x="1972" y="0"/>
                      <a:pt x="1953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</p:grpSp>
      </p:grpSp>
      <p:sp>
        <p:nvSpPr>
          <p:cNvPr id="18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5736000" y="6505200"/>
            <a:ext cx="720000" cy="35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3D7FBB75-0AF5-4EA0-8740-8BC296E4BC83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xfrm>
            <a:off x="470400" y="1173600"/>
            <a:ext cx="10939199" cy="48045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3722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lang="en-US" sz="2800" b="1" kern="120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685800" rtl="0" eaLnBrk="1" latinLnBrk="0" hangingPunct="1">
        <a:spcBef>
          <a:spcPts val="1080"/>
        </a:spcBef>
        <a:buSzPct val="70000"/>
        <a:buFontTx/>
        <a:buBlip>
          <a:blip r:embed="rId25"/>
        </a:buBlip>
        <a:defRPr lang="en-US" sz="2000" kern="1200" noProof="0" dirty="0">
          <a:solidFill>
            <a:schemeClr val="tx2"/>
          </a:solidFill>
          <a:latin typeface="+mn-lt"/>
          <a:ea typeface="+mn-ea"/>
          <a:cs typeface="+mn-cs"/>
        </a:defRPr>
      </a:lvl1pPr>
      <a:lvl2pPr marL="879300" indent="-342900" algn="l" defTabSz="685800" rtl="0" eaLnBrk="1" latinLnBrk="0" hangingPunct="1">
        <a:spcBef>
          <a:spcPts val="900"/>
        </a:spcBef>
        <a:buSzPct val="70000"/>
        <a:buFontTx/>
        <a:buBlip>
          <a:blip r:embed="rId25"/>
        </a:buBlip>
        <a:defRPr lang="en-US" sz="2000" kern="1200" noProof="0" dirty="0">
          <a:solidFill>
            <a:schemeClr val="tx2"/>
          </a:solidFill>
          <a:latin typeface="+mn-lt"/>
          <a:ea typeface="+mn-ea"/>
          <a:cs typeface="+mn-cs"/>
        </a:defRPr>
      </a:lvl2pPr>
      <a:lvl3pPr marL="1268550" indent="-285750" algn="l" defTabSz="685800" rtl="0" eaLnBrk="1" latinLnBrk="0" hangingPunct="1">
        <a:spcBef>
          <a:spcPts val="810"/>
        </a:spcBef>
        <a:buSzPct val="70000"/>
        <a:buFontTx/>
        <a:buBlip>
          <a:blip r:embed="rId25"/>
        </a:buBlip>
        <a:defRPr lang="en-US" sz="1800" kern="1200" noProof="0" dirty="0">
          <a:solidFill>
            <a:schemeClr val="tx2"/>
          </a:solidFill>
          <a:latin typeface="+mn-lt"/>
          <a:ea typeface="+mn-ea"/>
          <a:cs typeface="+mn-cs"/>
        </a:defRPr>
      </a:lvl3pPr>
      <a:lvl4pPr marL="1725750" indent="-285750" algn="l" defTabSz="685800" rtl="0" eaLnBrk="1" latinLnBrk="0" hangingPunct="1">
        <a:spcBef>
          <a:spcPts val="810"/>
        </a:spcBef>
        <a:buSzPct val="70000"/>
        <a:buFontTx/>
        <a:buBlip>
          <a:blip r:embed="rId25"/>
        </a:buBlip>
        <a:defRPr lang="en-US" sz="1800" kern="1200" noProof="0" dirty="0">
          <a:solidFill>
            <a:schemeClr val="tx2"/>
          </a:solidFill>
          <a:latin typeface="+mn-lt"/>
          <a:ea typeface="+mn-ea"/>
          <a:cs typeface="+mn-cs"/>
        </a:defRPr>
      </a:lvl4pPr>
      <a:lvl5pPr marL="2168550" indent="-285750" algn="l" defTabSz="685800" rtl="0" eaLnBrk="1" latinLnBrk="0" hangingPunct="1">
        <a:spcBef>
          <a:spcPts val="810"/>
        </a:spcBef>
        <a:buSzPct val="70000"/>
        <a:buFontTx/>
        <a:buBlip>
          <a:blip r:embed="rId25"/>
        </a:buBlip>
        <a:defRPr lang="en-US" sz="1800" kern="1200" baseline="0" noProof="0" dirty="0">
          <a:solidFill>
            <a:schemeClr val="tx2"/>
          </a:solidFill>
          <a:latin typeface="+mn-lt"/>
          <a:ea typeface="+mn-ea"/>
          <a:cs typeface="+mn-cs"/>
        </a:defRPr>
      </a:lvl5pPr>
      <a:lvl6pPr marL="2511425" indent="-171450" algn="l" defTabSz="685800" rtl="0" eaLnBrk="1" latinLnBrk="0" hangingPunct="1">
        <a:spcBef>
          <a:spcPct val="20000"/>
        </a:spcBef>
        <a:buSzPct val="70000"/>
        <a:buFontTx/>
        <a:buBlip>
          <a:blip r:embed="rId25"/>
        </a:buBlip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2874963" indent="-171450" algn="l" defTabSz="685800" rtl="0" eaLnBrk="1" latinLnBrk="0" hangingPunct="1">
        <a:spcBef>
          <a:spcPct val="20000"/>
        </a:spcBef>
        <a:buSzPct val="70000"/>
        <a:buFontTx/>
        <a:buBlip>
          <a:blip r:embed="rId25"/>
        </a:buBlip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3227388" indent="-171450" algn="l" defTabSz="685800" rtl="0" eaLnBrk="1" latinLnBrk="0" hangingPunct="1">
        <a:spcBef>
          <a:spcPct val="20000"/>
        </a:spcBef>
        <a:buSzPct val="70000"/>
        <a:buFontTx/>
        <a:buBlip>
          <a:blip r:embed="rId25"/>
        </a:buBlip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3590925" indent="-171450" algn="l" defTabSz="685800" rtl="0" eaLnBrk="1" latinLnBrk="0" hangingPunct="1">
        <a:spcBef>
          <a:spcPct val="20000"/>
        </a:spcBef>
        <a:buSzPct val="70000"/>
        <a:buFontTx/>
        <a:buBlip>
          <a:blip r:embed="rId25"/>
        </a:buBlip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43000">
              <a:schemeClr val="accent3">
                <a:lumMod val="40000"/>
                <a:lumOff val="60000"/>
              </a:schemeClr>
            </a:gs>
            <a:gs pos="100000">
              <a:schemeClr val="accent3">
                <a:lumMod val="95000"/>
                <a:lumOff val="5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ubtitle 2">
            <a:extLst>
              <a:ext uri="{FF2B5EF4-FFF2-40B4-BE49-F238E27FC236}">
                <a16:creationId xmlns:a16="http://schemas.microsoft.com/office/drawing/2014/main" id="{2F5A9614-DBBC-764F-A7A1-05DFA3E1F233}"/>
              </a:ext>
            </a:extLst>
          </p:cNvPr>
          <p:cNvSpPr txBox="1">
            <a:spLocks/>
          </p:cNvSpPr>
          <p:nvPr/>
        </p:nvSpPr>
        <p:spPr>
          <a:xfrm>
            <a:off x="8088555" y="525507"/>
            <a:ext cx="2667451" cy="1631096"/>
          </a:xfrm>
          <a:prstGeom prst="roundRect">
            <a:avLst>
              <a:gd name="adj" fmla="val 5143"/>
            </a:avLst>
          </a:prstGeom>
          <a:solidFill>
            <a:schemeClr val="accent3"/>
          </a:solidFill>
          <a:effectLst/>
        </p:spPr>
        <p:txBody>
          <a:bodyPr vert="horz" lIns="144000" tIns="108000" rIns="14400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304800" algn="l"/>
              </a:tabLst>
              <a:defRPr/>
            </a:pPr>
            <a:r>
              <a:rPr kumimoji="0" lang="da-DK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 </a:t>
            </a:r>
            <a:r>
              <a:rPr kumimoji="0" lang="da-DK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x</a:t>
            </a:r>
            <a:r>
              <a:rPr kumimoji="0" lang="da-DK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alent Grid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304800" algn="l"/>
              </a:tabLst>
              <a:defRPr/>
            </a:pPr>
            <a:r>
              <a:rPr kumimoji="0" lang="da-DK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valuation</a:t>
            </a:r>
            <a:r>
              <a:rPr kumimoji="0" lang="da-DK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304800" algn="l"/>
              </a:tabLst>
              <a:defRPr/>
            </a:pPr>
            <a:r>
              <a:rPr kumimoji="0" lang="da-DK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ention </a:t>
            </a:r>
            <a:r>
              <a:rPr kumimoji="0" lang="da-DK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k</a:t>
            </a:r>
            <a:r>
              <a:rPr kumimoji="0" lang="da-DK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304800" algn="l"/>
              </a:tabLst>
              <a:defRPr/>
            </a:pPr>
            <a:endParaRPr kumimoji="0" lang="da-DK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304800" algn="l"/>
              </a:tabLst>
              <a:defRPr/>
            </a:pPr>
            <a:r>
              <a:rPr kumimoji="0" lang="da-DK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ention Flag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304800" algn="l"/>
              </a:tabLst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9 </a:t>
            </a:r>
            <a:r>
              <a:rPr kumimoji="0" lang="da-DK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id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a-DK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essment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304800" algn="l"/>
              </a:tabLst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</a:p>
        </p:txBody>
      </p:sp>
      <p:graphicFrame>
        <p:nvGraphicFramePr>
          <p:cNvPr id="66" name="Tabel 65">
            <a:extLst>
              <a:ext uri="{FF2B5EF4-FFF2-40B4-BE49-F238E27FC236}">
                <a16:creationId xmlns:a16="http://schemas.microsoft.com/office/drawing/2014/main" id="{29B2E439-6178-4241-ACE1-5016FD49B728}"/>
              </a:ext>
            </a:extLst>
          </p:cNvPr>
          <p:cNvGraphicFramePr>
            <a:graphicFrameLocks noGrp="1"/>
          </p:cNvGraphicFramePr>
          <p:nvPr/>
        </p:nvGraphicFramePr>
        <p:xfrm>
          <a:off x="9560830" y="709545"/>
          <a:ext cx="1008000" cy="1008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2000">
                  <a:extLst>
                    <a:ext uri="{9D8B030D-6E8A-4147-A177-3AD203B41FA5}">
                      <a16:colId xmlns:a16="http://schemas.microsoft.com/office/drawing/2014/main" val="2210163544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val="3407455372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val="1869312625"/>
                    </a:ext>
                  </a:extLst>
                </a:gridCol>
                <a:gridCol w="252000">
                  <a:extLst>
                    <a:ext uri="{9D8B030D-6E8A-4147-A177-3AD203B41FA5}">
                      <a16:colId xmlns:a16="http://schemas.microsoft.com/office/drawing/2014/main" val="1935167581"/>
                    </a:ext>
                  </a:extLst>
                </a:gridCol>
              </a:tblGrid>
              <a:tr h="252000">
                <a:tc rowSpan="3">
                  <a:txBody>
                    <a:bodyPr/>
                    <a:lstStyle/>
                    <a:p>
                      <a:pPr algn="ctr"/>
                      <a:r>
                        <a:rPr lang="da-DK" sz="800">
                          <a:solidFill>
                            <a:schemeClr val="bg1"/>
                          </a:solidFill>
                        </a:rPr>
                        <a:t>Potential</a:t>
                      </a:r>
                    </a:p>
                  </a:txBody>
                  <a:tcPr vert="vert270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9919583"/>
                  </a:ext>
                </a:extLst>
              </a:tr>
              <a:tr h="252000">
                <a:tc v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5772468"/>
                  </a:ext>
                </a:extLst>
              </a:tr>
              <a:tr h="252000">
                <a:tc v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94509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da-DK" sz="800" dirty="0">
                          <a:solidFill>
                            <a:schemeClr val="bg1"/>
                          </a:solidFill>
                        </a:rPr>
                        <a:t>Performanc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5220683"/>
                  </a:ext>
                </a:extLst>
              </a:tr>
            </a:tbl>
          </a:graphicData>
        </a:graphic>
      </p:graphicFrame>
      <p:pic>
        <p:nvPicPr>
          <p:cNvPr id="44" name="Billede 43">
            <a:extLst>
              <a:ext uri="{FF2B5EF4-FFF2-40B4-BE49-F238E27FC236}">
                <a16:creationId xmlns:a16="http://schemas.microsoft.com/office/drawing/2014/main" id="{9BF842C4-6536-E244-8A86-3FD9A768CF2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-1716" t="-9492" r="-2240" b="8989"/>
          <a:stretch/>
        </p:blipFill>
        <p:spPr>
          <a:xfrm>
            <a:off x="6329863" y="525506"/>
            <a:ext cx="1457694" cy="1631097"/>
          </a:xfrm>
          <a:prstGeom prst="roundRect">
            <a:avLst>
              <a:gd name="adj" fmla="val 5242"/>
            </a:avLst>
          </a:prstGeom>
          <a:solidFill>
            <a:schemeClr val="bg1"/>
          </a:solidFill>
        </p:spPr>
      </p:pic>
      <p:sp>
        <p:nvSpPr>
          <p:cNvPr id="45" name="TextBox 23">
            <a:extLst>
              <a:ext uri="{FF2B5EF4-FFF2-40B4-BE49-F238E27FC236}">
                <a16:creationId xmlns:a16="http://schemas.microsoft.com/office/drawing/2014/main" id="{089349CD-2CD9-F940-8A50-35567F886F1B}"/>
              </a:ext>
            </a:extLst>
          </p:cNvPr>
          <p:cNvSpPr txBox="1"/>
          <p:nvPr/>
        </p:nvSpPr>
        <p:spPr>
          <a:xfrm>
            <a:off x="688936" y="466397"/>
            <a:ext cx="492063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ployee Snapshot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46" name="Tabel 45">
            <a:extLst>
              <a:ext uri="{FF2B5EF4-FFF2-40B4-BE49-F238E27FC236}">
                <a16:creationId xmlns:a16="http://schemas.microsoft.com/office/drawing/2014/main" id="{14974A7B-C9BB-2741-A5A7-08F3BF760E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8353174"/>
              </p:ext>
            </p:extLst>
          </p:nvPr>
        </p:nvGraphicFramePr>
        <p:xfrm>
          <a:off x="662730" y="1090696"/>
          <a:ext cx="4946841" cy="4549645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929468">
                  <a:extLst>
                    <a:ext uri="{9D8B030D-6E8A-4147-A177-3AD203B41FA5}">
                      <a16:colId xmlns:a16="http://schemas.microsoft.com/office/drawing/2014/main" val="634363959"/>
                    </a:ext>
                  </a:extLst>
                </a:gridCol>
                <a:gridCol w="3017373">
                  <a:extLst>
                    <a:ext uri="{9D8B030D-6E8A-4147-A177-3AD203B41FA5}">
                      <a16:colId xmlns:a16="http://schemas.microsoft.com/office/drawing/2014/main" val="658095723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Name: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>
                          <a:solidFill>
                            <a:srgbClr val="002060"/>
                          </a:solidFill>
                        </a:rPr>
                        <a:t> 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828939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Current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role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: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>
                          <a:solidFill>
                            <a:srgbClr val="002060"/>
                          </a:solidFill>
                        </a:rPr>
                        <a:t> 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326977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In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role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since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: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082674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With Company since: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184663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Previous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 3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roles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: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da-DK" sz="1000" dirty="0">
                        <a:solidFill>
                          <a:srgbClr val="002060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2214255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Educational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background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: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8141635"/>
                  </a:ext>
                </a:extLst>
              </a:tr>
              <a:tr h="548163">
                <a:tc>
                  <a:txBody>
                    <a:bodyPr/>
                    <a:lstStyle/>
                    <a:p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Key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achievements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 </a:t>
                      </a:r>
                      <a:br>
                        <a:rPr lang="da-DK" sz="1000" b="1" dirty="0">
                          <a:solidFill>
                            <a:schemeClr val="tx2"/>
                          </a:solidFill>
                        </a:rPr>
                      </a:b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in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current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role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: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000" dirty="0">
                        <a:solidFill>
                          <a:srgbClr val="002060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3617820"/>
                  </a:ext>
                </a:extLst>
              </a:tr>
              <a:tr h="625642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Professional Development: </a:t>
                      </a:r>
                      <a:r>
                        <a:rPr lang="da-DK" sz="1000" b="0" dirty="0">
                          <a:solidFill>
                            <a:schemeClr val="tx2"/>
                          </a:solidFill>
                        </a:rPr>
                        <a:t>(Internal and </a:t>
                      </a:r>
                      <a:r>
                        <a:rPr lang="da-DK" sz="1000" b="0" dirty="0" err="1">
                          <a:solidFill>
                            <a:schemeClr val="tx2"/>
                          </a:solidFill>
                        </a:rPr>
                        <a:t>External</a:t>
                      </a:r>
                      <a:r>
                        <a:rPr lang="da-DK" sz="1000" b="0" dirty="0">
                          <a:solidFill>
                            <a:schemeClr val="tx2"/>
                          </a:solidFill>
                        </a:rPr>
                        <a:t>)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a-DK" sz="1000" dirty="0">
                        <a:solidFill>
                          <a:srgbClr val="002060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533695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Cross-Functinal skills: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rgbClr val="002060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479996"/>
                  </a:ext>
                </a:extLst>
              </a:tr>
              <a:tr h="19013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Language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skills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: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rgbClr val="002060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0952202"/>
                  </a:ext>
                </a:extLst>
              </a:tr>
            </a:tbl>
          </a:graphicData>
        </a:graphic>
      </p:graphicFrame>
      <p:sp>
        <p:nvSpPr>
          <p:cNvPr id="52" name="Oval 28">
            <a:extLst>
              <a:ext uri="{FF2B5EF4-FFF2-40B4-BE49-F238E27FC236}">
                <a16:creationId xmlns:a16="http://schemas.microsoft.com/office/drawing/2014/main" id="{79606E68-0497-B84E-9490-38067E396DD1}"/>
              </a:ext>
            </a:extLst>
          </p:cNvPr>
          <p:cNvSpPr/>
          <p:nvPr/>
        </p:nvSpPr>
        <p:spPr>
          <a:xfrm>
            <a:off x="8257719" y="1490660"/>
            <a:ext cx="223117" cy="223117"/>
          </a:xfrm>
          <a:prstGeom prst="ellipse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54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Oval 33">
            <a:extLst>
              <a:ext uri="{FF2B5EF4-FFF2-40B4-BE49-F238E27FC236}">
                <a16:creationId xmlns:a16="http://schemas.microsoft.com/office/drawing/2014/main" id="{A4F0CC6D-1338-2840-9392-726228846460}"/>
              </a:ext>
            </a:extLst>
          </p:cNvPr>
          <p:cNvSpPr/>
          <p:nvPr/>
        </p:nvSpPr>
        <p:spPr>
          <a:xfrm>
            <a:off x="8257719" y="1195503"/>
            <a:ext cx="223117" cy="22311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54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</a:p>
        </p:txBody>
      </p:sp>
      <p:graphicFrame>
        <p:nvGraphicFramePr>
          <p:cNvPr id="60" name="Tabel 59">
            <a:extLst>
              <a:ext uri="{FF2B5EF4-FFF2-40B4-BE49-F238E27FC236}">
                <a16:creationId xmlns:a16="http://schemas.microsoft.com/office/drawing/2014/main" id="{C4673CFF-ADCE-6042-B983-E2E4A90166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34927"/>
              </p:ext>
            </p:extLst>
          </p:nvPr>
        </p:nvGraphicFramePr>
        <p:xfrm>
          <a:off x="6329863" y="2674696"/>
          <a:ext cx="5177774" cy="356400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980177">
                  <a:extLst>
                    <a:ext uri="{9D8B030D-6E8A-4147-A177-3AD203B41FA5}">
                      <a16:colId xmlns:a16="http://schemas.microsoft.com/office/drawing/2014/main" val="634363959"/>
                    </a:ext>
                  </a:extLst>
                </a:gridCol>
                <a:gridCol w="3197597">
                  <a:extLst>
                    <a:ext uri="{9D8B030D-6E8A-4147-A177-3AD203B41FA5}">
                      <a16:colId xmlns:a16="http://schemas.microsoft.com/office/drawing/2014/main" val="65809572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Career aspirations:</a:t>
                      </a:r>
                    </a:p>
                    <a:p>
                      <a:pPr algn="l"/>
                      <a:endParaRPr lang="en-GB" sz="1000" dirty="0">
                        <a:solidFill>
                          <a:schemeClr val="tx2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dirty="0">
                        <a:solidFill>
                          <a:srgbClr val="002060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62415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Ready for next move: (</a:t>
                      </a:r>
                      <a:r>
                        <a:rPr lang="da-DK" sz="1000" b="0" dirty="0">
                          <a:solidFill>
                            <a:schemeClr val="tx2"/>
                          </a:solidFill>
                        </a:rPr>
                        <a:t>timing)</a:t>
                      </a:r>
                      <a:endParaRPr lang="da-DK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dirty="0">
                        <a:solidFill>
                          <a:srgbClr val="002060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823097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Strengths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: </a:t>
                      </a:r>
                    </a:p>
                    <a:p>
                      <a:pPr algn="l"/>
                      <a:r>
                        <a:rPr lang="da-DK" sz="1000" dirty="0">
                          <a:solidFill>
                            <a:schemeClr val="tx2"/>
                          </a:solidFill>
                        </a:rPr>
                        <a:t>(As they relate to career aspirations)</a:t>
                      </a:r>
                      <a:endParaRPr lang="en-GB" sz="1000" dirty="0">
                        <a:solidFill>
                          <a:schemeClr val="tx2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2214255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Development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needs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: </a:t>
                      </a:r>
                    </a:p>
                    <a:p>
                      <a:pPr algn="l"/>
                      <a:r>
                        <a:rPr lang="da-DK" sz="1000" dirty="0">
                          <a:solidFill>
                            <a:schemeClr val="tx2"/>
                          </a:solidFill>
                        </a:rPr>
                        <a:t>(As they relate to career aspirations)</a:t>
                      </a:r>
                      <a:endParaRPr lang="en-GB" sz="1000" dirty="0">
                        <a:solidFill>
                          <a:schemeClr val="tx2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8141635"/>
                  </a:ext>
                </a:extLst>
              </a:tr>
              <a:tr h="1080000">
                <a:tc>
                  <a:txBody>
                    <a:bodyPr/>
                    <a:lstStyle/>
                    <a:p>
                      <a:pPr algn="l"/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Personal Development </a:t>
                      </a:r>
                    </a:p>
                    <a:p>
                      <a:pPr algn="l"/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Plan and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possible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  <a:p>
                      <a:pPr algn="l"/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next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career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 steps:</a:t>
                      </a:r>
                      <a:endParaRPr lang="en-GB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3617820"/>
                  </a:ext>
                </a:extLst>
              </a:tr>
            </a:tbl>
          </a:graphicData>
        </a:graphic>
      </p:graphicFrame>
      <p:sp>
        <p:nvSpPr>
          <p:cNvPr id="69" name="Pladsholder til diasnummer 5">
            <a:extLst>
              <a:ext uri="{FF2B5EF4-FFF2-40B4-BE49-F238E27FC236}">
                <a16:creationId xmlns:a16="http://schemas.microsoft.com/office/drawing/2014/main" id="{5275C7D0-C448-3445-B73D-90AE04A20C90}"/>
              </a:ext>
            </a:extLst>
          </p:cNvPr>
          <p:cNvSpPr txBox="1">
            <a:spLocks/>
          </p:cNvSpPr>
          <p:nvPr/>
        </p:nvSpPr>
        <p:spPr>
          <a:xfrm>
            <a:off x="5736000" y="6505200"/>
            <a:ext cx="720000" cy="35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7FBB75-0AF5-4EA0-8740-8BC296E4BC83}" type="slidenum"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48152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3000">
              <a:schemeClr val="accent3">
                <a:lumMod val="40000"/>
                <a:lumOff val="60000"/>
              </a:schemeClr>
            </a:gs>
            <a:gs pos="100000">
              <a:schemeClr val="accent3">
                <a:lumMod val="95000"/>
                <a:lumOff val="5000"/>
              </a:schemeClr>
            </a:gs>
          </a:gsLst>
          <a:path path="circle">
            <a:fillToRect l="50000" t="130000" r="50000" b="-3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23">
            <a:extLst>
              <a:ext uri="{FF2B5EF4-FFF2-40B4-BE49-F238E27FC236}">
                <a16:creationId xmlns:a16="http://schemas.microsoft.com/office/drawing/2014/main" id="{089349CD-2CD9-F940-8A50-35567F886F1B}"/>
              </a:ext>
            </a:extLst>
          </p:cNvPr>
          <p:cNvSpPr txBox="1"/>
          <p:nvPr/>
        </p:nvSpPr>
        <p:spPr>
          <a:xfrm>
            <a:off x="818278" y="131098"/>
            <a:ext cx="1072727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9 Box grid overview Operations</a:t>
            </a:r>
          </a:p>
        </p:txBody>
      </p:sp>
      <p:graphicFrame>
        <p:nvGraphicFramePr>
          <p:cNvPr id="11" name="Tabell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8865569"/>
              </p:ext>
            </p:extLst>
          </p:nvPr>
        </p:nvGraphicFramePr>
        <p:xfrm>
          <a:off x="0" y="1115452"/>
          <a:ext cx="11545557" cy="610449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079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43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336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7191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6404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562231">
                <a:tc rowSpan="3">
                  <a:txBody>
                    <a:bodyPr/>
                    <a:lstStyle/>
                    <a:p>
                      <a:pPr algn="ctr"/>
                      <a:r>
                        <a:rPr lang="sv-SE" sz="1800" b="1" dirty="0"/>
                        <a:t>Potential</a:t>
                      </a:r>
                      <a:endParaRPr lang="en-GB" sz="1800" b="1" dirty="0"/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1" dirty="0" err="1">
                          <a:solidFill>
                            <a:schemeClr val="tx1"/>
                          </a:solidFill>
                        </a:rPr>
                        <a:t>Accelerate</a:t>
                      </a:r>
                      <a:endParaRPr lang="en-GB" sz="1600" b="1" dirty="0">
                        <a:solidFill>
                          <a:schemeClr val="tx1"/>
                        </a:solidFill>
                      </a:endParaRPr>
                    </a:p>
                  </a:txBody>
                  <a:tcPr vert="vert27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sv-SE" b="1" dirty="0">
                          <a:solidFill>
                            <a:schemeClr val="bg1"/>
                          </a:solidFill>
                        </a:rPr>
                        <a:t>New to Role</a:t>
                      </a:r>
                    </a:p>
                    <a:p>
                      <a:endParaRPr lang="sv-SE" b="1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sv-SE" b="0" dirty="0">
                          <a:solidFill>
                            <a:schemeClr val="bg1"/>
                          </a:solidFill>
                        </a:rPr>
                        <a:t>More time needed for true assessment. No signs of concern at this point in short tenure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b="1" dirty="0">
                          <a:solidFill>
                            <a:schemeClr val="bg1"/>
                          </a:solidFill>
                        </a:rPr>
                        <a:t>Growth Employee</a:t>
                      </a:r>
                    </a:p>
                    <a:p>
                      <a:endParaRPr lang="sv-SE" b="1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US" sz="135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es extremely well at current job with potential to do more; give stretch assignments to continue assessing and help prepare for next level.</a:t>
                      </a:r>
                      <a:endParaRPr lang="sv-SE" b="1" dirty="0">
                        <a:solidFill>
                          <a:schemeClr val="bg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b="1" dirty="0" err="1">
                          <a:solidFill>
                            <a:schemeClr val="bg1"/>
                          </a:solidFill>
                        </a:rPr>
                        <a:t>High</a:t>
                      </a:r>
                      <a:r>
                        <a:rPr lang="sv-SE" b="1" dirty="0">
                          <a:solidFill>
                            <a:schemeClr val="bg1"/>
                          </a:solidFill>
                        </a:rPr>
                        <a:t> Potential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US" sz="135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ennial exceptional performer with the ability to advance at least 2 roles beyond current position. Consistently performs well in a variety of assignments; superstar employee. 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7549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1" dirty="0" err="1">
                          <a:solidFill>
                            <a:schemeClr val="tx1"/>
                          </a:solidFill>
                        </a:rPr>
                        <a:t>Increase</a:t>
                      </a:r>
                      <a:endParaRPr lang="en-GB" sz="1600" b="1" dirty="0">
                        <a:solidFill>
                          <a:schemeClr val="tx1"/>
                        </a:solidFill>
                      </a:endParaRPr>
                    </a:p>
                  </a:txBody>
                  <a:tcPr vert="vert27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sv-SE" b="1" dirty="0">
                          <a:solidFill>
                            <a:schemeClr val="bg1"/>
                          </a:solidFill>
                        </a:rPr>
                        <a:t>Improvement</a:t>
                      </a:r>
                    </a:p>
                    <a:p>
                      <a:endParaRPr lang="sv-SE" b="1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US" sz="135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th coaching, could progress within level; focus on stretch goals for this employee to determine true potential.</a:t>
                      </a:r>
                      <a:endParaRPr lang="sv-SE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b="1" dirty="0" err="1">
                          <a:solidFill>
                            <a:schemeClr val="bg1"/>
                          </a:solidFill>
                        </a:rPr>
                        <a:t>Core</a:t>
                      </a:r>
                      <a:r>
                        <a:rPr lang="sv-SE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sv-SE" b="1" dirty="0" err="1">
                          <a:solidFill>
                            <a:schemeClr val="bg1"/>
                          </a:solidFill>
                        </a:rPr>
                        <a:t>Employee</a:t>
                      </a:r>
                      <a:endParaRPr lang="sv-SE" b="1" dirty="0">
                        <a:solidFill>
                          <a:schemeClr val="bg1"/>
                        </a:solidFill>
                      </a:endParaRPr>
                    </a:p>
                    <a:p>
                      <a:endParaRPr lang="en-GB" b="1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US" sz="135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 be considered for job enlargement at the same level but may have not performed as well when given other opportunities. 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b="1" dirty="0">
                          <a:solidFill>
                            <a:schemeClr val="bg1"/>
                          </a:solidFill>
                        </a:rPr>
                        <a:t>High Impact Performer</a:t>
                      </a:r>
                    </a:p>
                    <a:p>
                      <a:endParaRPr lang="sv-SE" b="1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US" sz="135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tly gets job done at a high level and is critical to the company’s success. Desire or specific role/skill set may limit ability to advance to higher levels in the organization.</a:t>
                      </a:r>
                      <a:endParaRPr lang="sv-SE" b="1" dirty="0">
                        <a:solidFill>
                          <a:schemeClr val="bg1"/>
                        </a:solidFill>
                      </a:endParaRP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  <a:p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26733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1" dirty="0" err="1">
                          <a:solidFill>
                            <a:schemeClr val="tx1"/>
                          </a:solidFill>
                        </a:rPr>
                        <a:t>Stay</a:t>
                      </a:r>
                      <a:endParaRPr lang="en-GB" sz="1600" b="1" dirty="0">
                        <a:solidFill>
                          <a:schemeClr val="tx1"/>
                        </a:solidFill>
                      </a:endParaRPr>
                    </a:p>
                  </a:txBody>
                  <a:tcPr vert="vert27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sv-SE" b="1" dirty="0">
                          <a:solidFill>
                            <a:schemeClr val="bg1"/>
                          </a:solidFill>
                        </a:rPr>
                        <a:t>Lower Performer</a:t>
                      </a:r>
                    </a:p>
                    <a:p>
                      <a:endParaRPr lang="sv-SE" b="1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US" sz="135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y be a candidate for reassignment, reclassification to a lower level or to exit the organization.</a:t>
                      </a:r>
                      <a:endParaRPr lang="sv-SE" b="1" dirty="0">
                        <a:solidFill>
                          <a:schemeClr val="bg1"/>
                        </a:solidFill>
                      </a:endParaRPr>
                    </a:p>
                    <a:p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b="1" dirty="0">
                          <a:solidFill>
                            <a:schemeClr val="bg1"/>
                          </a:solidFill>
                        </a:rPr>
                        <a:t>Solid Performer</a:t>
                      </a:r>
                    </a:p>
                    <a:p>
                      <a:endParaRPr lang="sv-SE" b="1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US" sz="135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ffective performer but may have reached career potential; try to coach employee on becoming more innovative, focus on lateral thinking.</a:t>
                      </a:r>
                      <a:endParaRPr lang="sv-SE" b="1" dirty="0">
                        <a:solidFill>
                          <a:schemeClr val="bg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b="1" dirty="0" err="1">
                          <a:solidFill>
                            <a:schemeClr val="bg1"/>
                          </a:solidFill>
                        </a:rPr>
                        <a:t>Key</a:t>
                      </a:r>
                      <a:r>
                        <a:rPr lang="sv-SE" b="1" dirty="0">
                          <a:solidFill>
                            <a:schemeClr val="bg1"/>
                          </a:solidFill>
                        </a:rPr>
                        <a:t> Performer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50" b="0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erienced high performer but has reached limit of career potential. Still a valuable employee and leader must find way to maximize this employee’s contributions.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  <a:p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90000"/>
                        <a:lumOff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5599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wer</a:t>
                      </a:r>
                      <a:r>
                        <a:rPr lang="sv-S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erformer</a:t>
                      </a:r>
                      <a:endParaRPr lang="en-GB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rformer</a:t>
                      </a:r>
                      <a:endParaRPr lang="en-GB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igh</a:t>
                      </a:r>
                      <a:r>
                        <a:rPr lang="sv-SE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erformer</a:t>
                      </a:r>
                      <a:endParaRPr lang="en-GB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04446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sv-SE" sz="1800" b="1" dirty="0" err="1"/>
                        <a:t>Performance</a:t>
                      </a:r>
                      <a:endParaRPr lang="en-GB" sz="18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9735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43000">
              <a:schemeClr val="accent3">
                <a:lumMod val="40000"/>
                <a:lumOff val="60000"/>
              </a:schemeClr>
            </a:gs>
            <a:gs pos="100000">
              <a:schemeClr val="accent3">
                <a:lumMod val="95000"/>
                <a:lumOff val="5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Tabel 45">
            <a:extLst>
              <a:ext uri="{FF2B5EF4-FFF2-40B4-BE49-F238E27FC236}">
                <a16:creationId xmlns:a16="http://schemas.microsoft.com/office/drawing/2014/main" id="{14974A7B-C9BB-2741-A5A7-08F3BF760E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190183"/>
              </p:ext>
            </p:extLst>
          </p:nvPr>
        </p:nvGraphicFramePr>
        <p:xfrm>
          <a:off x="540881" y="1281630"/>
          <a:ext cx="11220481" cy="4500334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670419">
                  <a:extLst>
                    <a:ext uri="{9D8B030D-6E8A-4147-A177-3AD203B41FA5}">
                      <a16:colId xmlns:a16="http://schemas.microsoft.com/office/drawing/2014/main" val="634363959"/>
                    </a:ext>
                  </a:extLst>
                </a:gridCol>
                <a:gridCol w="1202133">
                  <a:extLst>
                    <a:ext uri="{9D8B030D-6E8A-4147-A177-3AD203B41FA5}">
                      <a16:colId xmlns:a16="http://schemas.microsoft.com/office/drawing/2014/main" val="658095723"/>
                    </a:ext>
                  </a:extLst>
                </a:gridCol>
                <a:gridCol w="2342276">
                  <a:extLst>
                    <a:ext uri="{9D8B030D-6E8A-4147-A177-3AD203B41FA5}">
                      <a16:colId xmlns:a16="http://schemas.microsoft.com/office/drawing/2014/main" val="1185630313"/>
                    </a:ext>
                  </a:extLst>
                </a:gridCol>
                <a:gridCol w="1776017">
                  <a:extLst>
                    <a:ext uri="{9D8B030D-6E8A-4147-A177-3AD203B41FA5}">
                      <a16:colId xmlns:a16="http://schemas.microsoft.com/office/drawing/2014/main" val="3173586295"/>
                    </a:ext>
                  </a:extLst>
                </a:gridCol>
                <a:gridCol w="1304987">
                  <a:extLst>
                    <a:ext uri="{9D8B030D-6E8A-4147-A177-3AD203B41FA5}">
                      <a16:colId xmlns:a16="http://schemas.microsoft.com/office/drawing/2014/main" val="1915696365"/>
                    </a:ext>
                  </a:extLst>
                </a:gridCol>
                <a:gridCol w="1482098">
                  <a:extLst>
                    <a:ext uri="{9D8B030D-6E8A-4147-A177-3AD203B41FA5}">
                      <a16:colId xmlns:a16="http://schemas.microsoft.com/office/drawing/2014/main" val="3750658304"/>
                    </a:ext>
                  </a:extLst>
                </a:gridCol>
                <a:gridCol w="1442551">
                  <a:extLst>
                    <a:ext uri="{9D8B030D-6E8A-4147-A177-3AD203B41FA5}">
                      <a16:colId xmlns:a16="http://schemas.microsoft.com/office/drawing/2014/main" val="28045119"/>
                    </a:ext>
                  </a:extLst>
                </a:gridCol>
              </a:tblGrid>
              <a:tr h="468240">
                <a:tc>
                  <a:txBody>
                    <a:bodyPr/>
                    <a:lstStyle/>
                    <a:p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Name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 and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role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: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Rating:</a:t>
                      </a:r>
                    </a:p>
                  </a:txBody>
                  <a:tcPr marL="0" marR="7200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Comments: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Successors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ready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after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current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role</a:t>
                      </a:r>
                      <a:endParaRPr lang="da-DK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Successors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ready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after</a:t>
                      </a:r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 1 more </a:t>
                      </a:r>
                      <a:r>
                        <a:rPr lang="da-DK" sz="1000" b="1" dirty="0" err="1">
                          <a:solidFill>
                            <a:schemeClr val="tx2"/>
                          </a:solidFill>
                        </a:rPr>
                        <a:t>role</a:t>
                      </a:r>
                      <a:endParaRPr lang="da-DK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Successors ready after 2 or more role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a-DK" sz="1000" b="1" dirty="0">
                          <a:solidFill>
                            <a:schemeClr val="tx2"/>
                          </a:solidFill>
                        </a:rPr>
                        <a:t>Emergency successor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8289395"/>
                  </a:ext>
                </a:extLst>
              </a:tr>
              <a:tr h="910203">
                <a:tc>
                  <a:txBody>
                    <a:bodyPr/>
                    <a:lstStyle/>
                    <a:p>
                      <a:r>
                        <a:rPr lang="da-DK" sz="1000" b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3269774"/>
                  </a:ext>
                </a:extLst>
              </a:tr>
              <a:tr h="1062182">
                <a:tc>
                  <a:txBody>
                    <a:bodyPr/>
                    <a:lstStyle/>
                    <a:p>
                      <a:r>
                        <a:rPr lang="da-DK" sz="1000" b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0826740"/>
                  </a:ext>
                </a:extLst>
              </a:tr>
              <a:tr h="1016000">
                <a:tc>
                  <a:txBody>
                    <a:bodyPr/>
                    <a:lstStyle/>
                    <a:p>
                      <a:r>
                        <a:rPr lang="da-DK" sz="1000" b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1846632"/>
                  </a:ext>
                </a:extLst>
              </a:tr>
              <a:tr h="1043709">
                <a:tc>
                  <a:txBody>
                    <a:bodyPr/>
                    <a:lstStyle/>
                    <a:p>
                      <a:r>
                        <a:rPr lang="da-DK" sz="1000" b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127440" marT="81720" marB="81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422473"/>
                  </a:ext>
                </a:extLst>
              </a:tr>
            </a:tbl>
          </a:graphicData>
        </a:graphic>
      </p:graphicFrame>
      <p:graphicFrame>
        <p:nvGraphicFramePr>
          <p:cNvPr id="66" name="Tabel 65">
            <a:extLst>
              <a:ext uri="{FF2B5EF4-FFF2-40B4-BE49-F238E27FC236}">
                <a16:creationId xmlns:a16="http://schemas.microsoft.com/office/drawing/2014/main" id="{29B2E439-6178-4241-ACE1-5016FD49B7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246406"/>
              </p:ext>
            </p:extLst>
          </p:nvPr>
        </p:nvGraphicFramePr>
        <p:xfrm>
          <a:off x="2130306" y="1937904"/>
          <a:ext cx="792000" cy="762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4000">
                  <a:extLst>
                    <a:ext uri="{9D8B030D-6E8A-4147-A177-3AD203B41FA5}">
                      <a16:colId xmlns:a16="http://schemas.microsoft.com/office/drawing/2014/main" val="2210163544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3407455372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1869312625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1935167581"/>
                    </a:ext>
                  </a:extLst>
                </a:gridCol>
              </a:tblGrid>
              <a:tr h="0">
                <a:tc rowSpan="3">
                  <a:txBody>
                    <a:bodyPr/>
                    <a:lstStyle/>
                    <a:p>
                      <a:pPr algn="ctr"/>
                      <a:r>
                        <a:rPr lang="da-DK" sz="800">
                          <a:solidFill>
                            <a:schemeClr val="bg1"/>
                          </a:solidFill>
                        </a:rPr>
                        <a:t>Potential</a:t>
                      </a:r>
                    </a:p>
                  </a:txBody>
                  <a:tcPr marL="0" marR="0" marT="0" marB="0" vert="vert27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991958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577246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945090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da-DK" sz="800" dirty="0">
                          <a:solidFill>
                            <a:schemeClr val="bg1"/>
                          </a:solidFill>
                        </a:rPr>
                        <a:t>Performance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5220683"/>
                  </a:ext>
                </a:extLst>
              </a:tr>
            </a:tbl>
          </a:graphicData>
        </a:graphic>
      </p:graphicFrame>
      <p:graphicFrame>
        <p:nvGraphicFramePr>
          <p:cNvPr id="59" name="Tabel 58">
            <a:extLst>
              <a:ext uri="{FF2B5EF4-FFF2-40B4-BE49-F238E27FC236}">
                <a16:creationId xmlns:a16="http://schemas.microsoft.com/office/drawing/2014/main" id="{994B354B-EB41-2F4E-B646-16F565B19F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4296250"/>
              </p:ext>
            </p:extLst>
          </p:nvPr>
        </p:nvGraphicFramePr>
        <p:xfrm>
          <a:off x="2130306" y="2938542"/>
          <a:ext cx="792000" cy="762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4000">
                  <a:extLst>
                    <a:ext uri="{9D8B030D-6E8A-4147-A177-3AD203B41FA5}">
                      <a16:colId xmlns:a16="http://schemas.microsoft.com/office/drawing/2014/main" val="2210163544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3407455372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1869312625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1935167581"/>
                    </a:ext>
                  </a:extLst>
                </a:gridCol>
              </a:tblGrid>
              <a:tr h="0">
                <a:tc rowSpan="3">
                  <a:txBody>
                    <a:bodyPr/>
                    <a:lstStyle/>
                    <a:p>
                      <a:pPr algn="ctr"/>
                      <a:r>
                        <a:rPr lang="da-DK" sz="800">
                          <a:solidFill>
                            <a:schemeClr val="bg1"/>
                          </a:solidFill>
                        </a:rPr>
                        <a:t>Potential</a:t>
                      </a:r>
                    </a:p>
                  </a:txBody>
                  <a:tcPr marL="0" marR="0" marT="0" marB="0" vert="vert27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991958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577246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945090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da-DK" sz="800" dirty="0">
                          <a:solidFill>
                            <a:schemeClr val="bg1"/>
                          </a:solidFill>
                        </a:rPr>
                        <a:t>Performance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5220683"/>
                  </a:ext>
                </a:extLst>
              </a:tr>
            </a:tbl>
          </a:graphicData>
        </a:graphic>
      </p:graphicFrame>
      <p:graphicFrame>
        <p:nvGraphicFramePr>
          <p:cNvPr id="61" name="Tabel 60">
            <a:extLst>
              <a:ext uri="{FF2B5EF4-FFF2-40B4-BE49-F238E27FC236}">
                <a16:creationId xmlns:a16="http://schemas.microsoft.com/office/drawing/2014/main" id="{4C5083C6-F23A-9946-8CE6-A96A32C4AA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3677835"/>
              </p:ext>
            </p:extLst>
          </p:nvPr>
        </p:nvGraphicFramePr>
        <p:xfrm>
          <a:off x="2130306" y="3943351"/>
          <a:ext cx="792000" cy="762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4000">
                  <a:extLst>
                    <a:ext uri="{9D8B030D-6E8A-4147-A177-3AD203B41FA5}">
                      <a16:colId xmlns:a16="http://schemas.microsoft.com/office/drawing/2014/main" val="2210163544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3407455372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1869312625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1935167581"/>
                    </a:ext>
                  </a:extLst>
                </a:gridCol>
              </a:tblGrid>
              <a:tr h="0">
                <a:tc rowSpan="3">
                  <a:txBody>
                    <a:bodyPr/>
                    <a:lstStyle/>
                    <a:p>
                      <a:pPr algn="ctr"/>
                      <a:r>
                        <a:rPr lang="da-DK" sz="800">
                          <a:solidFill>
                            <a:schemeClr val="bg1"/>
                          </a:solidFill>
                        </a:rPr>
                        <a:t>Potential</a:t>
                      </a:r>
                    </a:p>
                  </a:txBody>
                  <a:tcPr marL="0" marR="0" marT="0" marB="0" vert="vert27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991958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577246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945090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da-DK" sz="800" dirty="0">
                          <a:solidFill>
                            <a:schemeClr val="bg1"/>
                          </a:solidFill>
                        </a:rPr>
                        <a:t>Performance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5220683"/>
                  </a:ext>
                </a:extLst>
              </a:tr>
            </a:tbl>
          </a:graphicData>
        </a:graphic>
      </p:graphicFrame>
      <p:sp>
        <p:nvSpPr>
          <p:cNvPr id="48" name="Subtitle 2">
            <a:extLst>
              <a:ext uri="{FF2B5EF4-FFF2-40B4-BE49-F238E27FC236}">
                <a16:creationId xmlns:a16="http://schemas.microsoft.com/office/drawing/2014/main" id="{2F5A9614-DBBC-764F-A7A1-05DFA3E1F233}"/>
              </a:ext>
            </a:extLst>
          </p:cNvPr>
          <p:cNvSpPr txBox="1">
            <a:spLocks/>
          </p:cNvSpPr>
          <p:nvPr/>
        </p:nvSpPr>
        <p:spPr>
          <a:xfrm>
            <a:off x="554694" y="5974550"/>
            <a:ext cx="4245284" cy="430642"/>
          </a:xfrm>
          <a:prstGeom prst="roundRect">
            <a:avLst>
              <a:gd name="adj" fmla="val 5143"/>
            </a:avLst>
          </a:prstGeom>
          <a:solidFill>
            <a:schemeClr val="accent3"/>
          </a:solidFill>
          <a:effectLst/>
        </p:spPr>
        <p:txBody>
          <a:bodyPr vert="horz" lIns="144000" tIns="108000" rIns="144000" bIns="10800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304800" algn="l"/>
              </a:tabLst>
              <a:defRPr/>
            </a:pPr>
            <a:r>
              <a:rPr kumimoji="0" lang="da-DK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ention R</a:t>
            </a:r>
            <a:r>
              <a:rPr kumimoji="0" lang="da-DK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k</a:t>
            </a:r>
            <a:r>
              <a:rPr kumimoji="0" lang="da-DK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           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ention Flag              No Retention Risk</a:t>
            </a:r>
          </a:p>
        </p:txBody>
      </p:sp>
      <p:sp>
        <p:nvSpPr>
          <p:cNvPr id="45" name="TextBox 23">
            <a:extLst>
              <a:ext uri="{FF2B5EF4-FFF2-40B4-BE49-F238E27FC236}">
                <a16:creationId xmlns:a16="http://schemas.microsoft.com/office/drawing/2014/main" id="{089349CD-2CD9-F940-8A50-35567F886F1B}"/>
              </a:ext>
            </a:extLst>
          </p:cNvPr>
          <p:cNvSpPr txBox="1"/>
          <p:nvPr/>
        </p:nvSpPr>
        <p:spPr>
          <a:xfrm>
            <a:off x="942646" y="279244"/>
            <a:ext cx="720808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 Box Talent Grid Summary &amp; Succession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4" name="Pladsholder til diasnummer 5">
            <a:extLst>
              <a:ext uri="{FF2B5EF4-FFF2-40B4-BE49-F238E27FC236}">
                <a16:creationId xmlns:a16="http://schemas.microsoft.com/office/drawing/2014/main" id="{FC1B01DC-5D46-9F45-8F43-9C877E4D6A37}"/>
              </a:ext>
            </a:extLst>
          </p:cNvPr>
          <p:cNvSpPr txBox="1">
            <a:spLocks/>
          </p:cNvSpPr>
          <p:nvPr/>
        </p:nvSpPr>
        <p:spPr>
          <a:xfrm>
            <a:off x="5387821" y="6401793"/>
            <a:ext cx="720000" cy="35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7FBB75-0AF5-4EA0-8740-8BC296E4BC83}" type="slidenum"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Oval 28">
            <a:extLst>
              <a:ext uri="{FF2B5EF4-FFF2-40B4-BE49-F238E27FC236}">
                <a16:creationId xmlns:a16="http://schemas.microsoft.com/office/drawing/2014/main" id="{3DD06F5A-21B5-4D23-A66A-AB424AF9D77D}"/>
              </a:ext>
            </a:extLst>
          </p:cNvPr>
          <p:cNvSpPr/>
          <p:nvPr/>
        </p:nvSpPr>
        <p:spPr>
          <a:xfrm>
            <a:off x="3183527" y="6055058"/>
            <a:ext cx="223117" cy="223117"/>
          </a:xfrm>
          <a:prstGeom prst="ellipse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54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Oval 33">
            <a:extLst>
              <a:ext uri="{FF2B5EF4-FFF2-40B4-BE49-F238E27FC236}">
                <a16:creationId xmlns:a16="http://schemas.microsoft.com/office/drawing/2014/main" id="{FC0F78A8-B7ED-440D-82A0-8945A7791FE5}"/>
              </a:ext>
            </a:extLst>
          </p:cNvPr>
          <p:cNvSpPr/>
          <p:nvPr/>
        </p:nvSpPr>
        <p:spPr>
          <a:xfrm>
            <a:off x="1771406" y="6081513"/>
            <a:ext cx="223117" cy="22311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54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</a:t>
            </a:r>
          </a:p>
        </p:txBody>
      </p:sp>
      <p:grpSp>
        <p:nvGrpSpPr>
          <p:cNvPr id="62" name="Gruppe 9">
            <a:extLst>
              <a:ext uri="{FF2B5EF4-FFF2-40B4-BE49-F238E27FC236}">
                <a16:creationId xmlns:a16="http://schemas.microsoft.com/office/drawing/2014/main" id="{2341C843-CF4F-468E-9921-920ACAFACBAD}"/>
              </a:ext>
            </a:extLst>
          </p:cNvPr>
          <p:cNvGrpSpPr/>
          <p:nvPr/>
        </p:nvGrpSpPr>
        <p:grpSpPr>
          <a:xfrm>
            <a:off x="6980430" y="5795713"/>
            <a:ext cx="5211570" cy="924617"/>
            <a:chOff x="688935" y="5491594"/>
            <a:chExt cx="5211570" cy="924617"/>
          </a:xfrm>
        </p:grpSpPr>
        <p:sp>
          <p:nvSpPr>
            <p:cNvPr id="63" name="Subtitle 2">
              <a:extLst>
                <a:ext uri="{FF2B5EF4-FFF2-40B4-BE49-F238E27FC236}">
                  <a16:creationId xmlns:a16="http://schemas.microsoft.com/office/drawing/2014/main" id="{4E9F10FC-4529-4BD5-A718-283334AF303A}"/>
                </a:ext>
              </a:extLst>
            </p:cNvPr>
            <p:cNvSpPr txBox="1">
              <a:spLocks/>
            </p:cNvSpPr>
            <p:nvPr/>
          </p:nvSpPr>
          <p:spPr>
            <a:xfrm>
              <a:off x="688935" y="5706514"/>
              <a:ext cx="5047065" cy="709697"/>
            </a:xfrm>
            <a:prstGeom prst="roundRect">
              <a:avLst>
                <a:gd name="adj" fmla="val 5143"/>
              </a:avLst>
            </a:prstGeom>
            <a:solidFill>
              <a:schemeClr val="tx2"/>
            </a:solidFill>
            <a:effectLst/>
          </p:spPr>
          <p:txBody>
            <a:bodyPr vert="horz" lIns="144000" tIns="108000" rIns="144000" bIns="108000" rtlCol="0" anchor="t" anchorCtr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>
                  <a:tab pos="309563" algn="l"/>
                </a:tabLst>
                <a:defRPr/>
              </a:pPr>
              <a:r>
                <a:rPr kumimoji="0" lang="da-DK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uccession </a:t>
              </a:r>
              <a:br>
                <a:rPr kumimoji="0" lang="da-DK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da-DK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n strength </a:t>
              </a:r>
              <a:br>
                <a:rPr kumimoji="0" lang="da-DK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da-DK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definitions: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None/>
                <a:tabLst>
                  <a:tab pos="309563" algn="l"/>
                </a:tabLst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	</a:t>
              </a:r>
            </a:p>
          </p:txBody>
        </p:sp>
        <p:sp>
          <p:nvSpPr>
            <p:cNvPr id="64" name="Tekstfelt 4">
              <a:extLst>
                <a:ext uri="{FF2B5EF4-FFF2-40B4-BE49-F238E27FC236}">
                  <a16:creationId xmlns:a16="http://schemas.microsoft.com/office/drawing/2014/main" id="{939DAE88-DEA8-4215-9333-F19BC248C197}"/>
                </a:ext>
              </a:extLst>
            </p:cNvPr>
            <p:cNvSpPr txBox="1"/>
            <p:nvPr/>
          </p:nvSpPr>
          <p:spPr>
            <a:xfrm>
              <a:off x="2179078" y="5788276"/>
              <a:ext cx="3721427" cy="5642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>
                  <a:tab pos="309563" algn="l"/>
                </a:tabLst>
                <a:defRPr/>
              </a:pPr>
              <a:r>
                <a:rPr kumimoji="0" lang="da-DK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 successors </a:t>
              </a:r>
              <a:r>
                <a:rPr kumimoji="0" lang="da-DK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ady</a:t>
              </a:r>
              <a:r>
                <a:rPr kumimoji="0" lang="da-DK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short-term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>
                  <a:tab pos="309563" algn="l"/>
                </a:tabLst>
                <a:defRPr/>
              </a:pPr>
              <a:r>
                <a:rPr kumimoji="0" lang="da-DK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 successor </a:t>
              </a:r>
              <a:r>
                <a:rPr kumimoji="0" lang="da-DK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ady</a:t>
              </a:r>
              <a:r>
                <a:rPr kumimoji="0" lang="da-DK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short-term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>
                  <a:tab pos="309563" algn="l"/>
                </a:tabLst>
                <a:defRPr/>
              </a:pPr>
              <a:r>
                <a:rPr kumimoji="0" lang="da-DK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o successors </a:t>
              </a:r>
              <a:r>
                <a:rPr kumimoji="0" lang="da-DK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ady</a:t>
              </a:r>
              <a:r>
                <a:rPr kumimoji="0" lang="da-DK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short-term</a:t>
              </a:r>
            </a:p>
          </p:txBody>
        </p:sp>
        <p:cxnSp>
          <p:nvCxnSpPr>
            <p:cNvPr id="65" name="Lige forbindelse 8">
              <a:extLst>
                <a:ext uri="{FF2B5EF4-FFF2-40B4-BE49-F238E27FC236}">
                  <a16:creationId xmlns:a16="http://schemas.microsoft.com/office/drawing/2014/main" id="{BC36D978-956F-4484-A2F8-046183F08DE7}"/>
                </a:ext>
              </a:extLst>
            </p:cNvPr>
            <p:cNvCxnSpPr/>
            <p:nvPr/>
          </p:nvCxnSpPr>
          <p:spPr>
            <a:xfrm flipV="1">
              <a:off x="3418665" y="5491594"/>
              <a:ext cx="0" cy="214920"/>
            </a:xfrm>
            <a:prstGeom prst="line">
              <a:avLst/>
            </a:prstGeom>
            <a:ln w="19050">
              <a:solidFill>
                <a:schemeClr val="tx2"/>
              </a:solidFill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Rektangel 2">
            <a:extLst>
              <a:ext uri="{FF2B5EF4-FFF2-40B4-BE49-F238E27FC236}">
                <a16:creationId xmlns:a16="http://schemas.microsoft.com/office/drawing/2014/main" id="{776EE0B2-8169-41DE-A109-C104171AB336}"/>
              </a:ext>
            </a:extLst>
          </p:cNvPr>
          <p:cNvSpPr/>
          <p:nvPr/>
        </p:nvSpPr>
        <p:spPr>
          <a:xfrm>
            <a:off x="8383441" y="6166724"/>
            <a:ext cx="124078" cy="12407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2" name="Rektangel 80">
            <a:extLst>
              <a:ext uri="{FF2B5EF4-FFF2-40B4-BE49-F238E27FC236}">
                <a16:creationId xmlns:a16="http://schemas.microsoft.com/office/drawing/2014/main" id="{9FDD192B-F6E6-416D-8551-921889A6E52B}"/>
              </a:ext>
            </a:extLst>
          </p:cNvPr>
          <p:cNvSpPr/>
          <p:nvPr/>
        </p:nvSpPr>
        <p:spPr>
          <a:xfrm>
            <a:off x="8383441" y="6339754"/>
            <a:ext cx="124078" cy="12407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Rektangel 81">
            <a:extLst>
              <a:ext uri="{FF2B5EF4-FFF2-40B4-BE49-F238E27FC236}">
                <a16:creationId xmlns:a16="http://schemas.microsoft.com/office/drawing/2014/main" id="{22834DA3-F235-4BE3-B7CF-65831640BB37}"/>
              </a:ext>
            </a:extLst>
          </p:cNvPr>
          <p:cNvSpPr/>
          <p:nvPr/>
        </p:nvSpPr>
        <p:spPr>
          <a:xfrm>
            <a:off x="8383441" y="6512783"/>
            <a:ext cx="124078" cy="12407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1F77C81-5E07-47FE-A299-2ED41164EDDB}"/>
              </a:ext>
            </a:extLst>
          </p:cNvPr>
          <p:cNvSpPr txBox="1"/>
          <p:nvPr/>
        </p:nvSpPr>
        <p:spPr>
          <a:xfrm>
            <a:off x="6458277" y="927451"/>
            <a:ext cx="26138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34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ort-term succession</a:t>
            </a:r>
          </a:p>
        </p:txBody>
      </p:sp>
      <p:sp>
        <p:nvSpPr>
          <p:cNvPr id="3" name="Right Brace 2">
            <a:extLst>
              <a:ext uri="{FF2B5EF4-FFF2-40B4-BE49-F238E27FC236}">
                <a16:creationId xmlns:a16="http://schemas.microsoft.com/office/drawing/2014/main" id="{8894B065-270E-4E67-AD2A-AED41E3F5083}"/>
              </a:ext>
            </a:extLst>
          </p:cNvPr>
          <p:cNvSpPr/>
          <p:nvPr/>
        </p:nvSpPr>
        <p:spPr>
          <a:xfrm rot="16200000">
            <a:off x="7178370" y="-96443"/>
            <a:ext cx="139704" cy="2751391"/>
          </a:xfrm>
          <a:prstGeom prst="righ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74" name="Tabel 60">
            <a:extLst>
              <a:ext uri="{FF2B5EF4-FFF2-40B4-BE49-F238E27FC236}">
                <a16:creationId xmlns:a16="http://schemas.microsoft.com/office/drawing/2014/main" id="{A2D505F6-558C-4D07-B939-DE115BAFDA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8077381"/>
              </p:ext>
            </p:extLst>
          </p:nvPr>
        </p:nvGraphicFramePr>
        <p:xfrm>
          <a:off x="2131835" y="4948160"/>
          <a:ext cx="792000" cy="762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4000">
                  <a:extLst>
                    <a:ext uri="{9D8B030D-6E8A-4147-A177-3AD203B41FA5}">
                      <a16:colId xmlns:a16="http://schemas.microsoft.com/office/drawing/2014/main" val="2210163544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3407455372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1869312625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1935167581"/>
                    </a:ext>
                  </a:extLst>
                </a:gridCol>
              </a:tblGrid>
              <a:tr h="0">
                <a:tc rowSpan="3">
                  <a:txBody>
                    <a:bodyPr/>
                    <a:lstStyle/>
                    <a:p>
                      <a:pPr algn="ctr"/>
                      <a:r>
                        <a:rPr lang="da-DK" sz="800">
                          <a:solidFill>
                            <a:schemeClr val="bg1"/>
                          </a:solidFill>
                        </a:rPr>
                        <a:t>Potential</a:t>
                      </a:r>
                    </a:p>
                  </a:txBody>
                  <a:tcPr marL="0" marR="0" marT="0" marB="0" vert="vert27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991958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577246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 dirty="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945090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a-DK" sz="800"/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da-DK" sz="800" dirty="0">
                          <a:solidFill>
                            <a:schemeClr val="bg1"/>
                          </a:solidFill>
                        </a:rPr>
                        <a:t>Performance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80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5220683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EA384721-1476-4FEE-A246-49E50FD6545A}"/>
              </a:ext>
            </a:extLst>
          </p:cNvPr>
          <p:cNvSpPr txBox="1"/>
          <p:nvPr/>
        </p:nvSpPr>
        <p:spPr>
          <a:xfrm>
            <a:off x="492283" y="6426299"/>
            <a:ext cx="54269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oose red  if there is a retention flag issue on this person. Choose blue if there is no retention issues</a:t>
            </a:r>
          </a:p>
        </p:txBody>
      </p:sp>
    </p:spTree>
    <p:extLst>
      <p:ext uri="{BB962C8B-B14F-4D97-AF65-F5344CB8AC3E}">
        <p14:creationId xmlns:p14="http://schemas.microsoft.com/office/powerpoint/2010/main" val="1813572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ISS">
  <a:themeElements>
    <a:clrScheme name="ISS">
      <a:dk1>
        <a:srgbClr val="000000"/>
      </a:dk1>
      <a:lt1>
        <a:srgbClr val="FFFFFF"/>
      </a:lt1>
      <a:dk2>
        <a:srgbClr val="003459"/>
      </a:dk2>
      <a:lt2>
        <a:srgbClr val="E6EBEE"/>
      </a:lt2>
      <a:accent1>
        <a:srgbClr val="B1BA36"/>
      </a:accent1>
      <a:accent2>
        <a:srgbClr val="E37919"/>
      </a:accent2>
      <a:accent3>
        <a:srgbClr val="6DAFD8"/>
      </a:accent3>
      <a:accent4>
        <a:srgbClr val="A5242B"/>
      </a:accent4>
      <a:accent5>
        <a:srgbClr val="D0D0C6"/>
      </a:accent5>
      <a:accent6>
        <a:srgbClr val="FFC613"/>
      </a:accent6>
      <a:hlink>
        <a:srgbClr val="0000FF"/>
      </a:hlink>
      <a:folHlink>
        <a:srgbClr val="800080"/>
      </a:folHlink>
    </a:clrScheme>
    <a:fontScheme name="ISS">
      <a:majorFont>
        <a:latin typeface="Arial" panose="020B0604020202020204"/>
        <a:ea typeface=""/>
        <a:cs typeface=""/>
      </a:majorFont>
      <a:minorFont>
        <a:latin typeface="Arial" panose="020B0604020202020204"/>
        <a:ea typeface=""/>
        <a:cs typeface=""/>
      </a:minorFont>
    </a:fontScheme>
    <a:fmtScheme name="IS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SS" id="{0E19BA69-B41D-4B3C-8543-C46E4EF51753}" vid="{749B6F13-D955-4B18-9460-776CAFCA44D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SS">
    <a:dk1>
      <a:srgbClr val="000000"/>
    </a:dk1>
    <a:lt1>
      <a:srgbClr val="FFFFFF"/>
    </a:lt1>
    <a:dk2>
      <a:srgbClr val="003459"/>
    </a:dk2>
    <a:lt2>
      <a:srgbClr val="E6EBEE"/>
    </a:lt2>
    <a:accent1>
      <a:srgbClr val="B1BA36"/>
    </a:accent1>
    <a:accent2>
      <a:srgbClr val="E37919"/>
    </a:accent2>
    <a:accent3>
      <a:srgbClr val="6DAFD8"/>
    </a:accent3>
    <a:accent4>
      <a:srgbClr val="A5242B"/>
    </a:accent4>
    <a:accent5>
      <a:srgbClr val="D0D0C6"/>
    </a:accent5>
    <a:accent6>
      <a:srgbClr val="FFC613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669</TotalTime>
  <Words>459</Words>
  <Application>Microsoft Office PowerPoint</Application>
  <PresentationFormat>Widescreen</PresentationFormat>
  <Paragraphs>101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Arial fed</vt:lpstr>
      <vt:lpstr>Calibri</vt:lpstr>
      <vt:lpstr>4_ISS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ey, Robert</dc:creator>
  <cp:lastModifiedBy>Emanuel Maxwell</cp:lastModifiedBy>
  <cp:revision>18</cp:revision>
  <dcterms:created xsi:type="dcterms:W3CDTF">2019-05-06T14:52:08Z</dcterms:created>
  <dcterms:modified xsi:type="dcterms:W3CDTF">2022-05-27T19:33:16Z</dcterms:modified>
</cp:coreProperties>
</file>